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4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5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0" r:id="rId5"/>
    <p:sldMasterId id="2147483660" r:id="rId6"/>
    <p:sldMasterId id="2147483702" r:id="rId7"/>
    <p:sldMasterId id="2147483721" r:id="rId8"/>
    <p:sldMasterId id="2147483733" r:id="rId9"/>
  </p:sldMasterIdLst>
  <p:notesMasterIdLst>
    <p:notesMasterId r:id="rId30"/>
  </p:notesMasterIdLst>
  <p:sldIdLst>
    <p:sldId id="285" r:id="rId10"/>
    <p:sldId id="508" r:id="rId11"/>
    <p:sldId id="512" r:id="rId12"/>
    <p:sldId id="501" r:id="rId13"/>
    <p:sldId id="370" r:id="rId14"/>
    <p:sldId id="497" r:id="rId15"/>
    <p:sldId id="449" r:id="rId16"/>
    <p:sldId id="498" r:id="rId17"/>
    <p:sldId id="499" r:id="rId18"/>
    <p:sldId id="448" r:id="rId19"/>
    <p:sldId id="500" r:id="rId20"/>
    <p:sldId id="505" r:id="rId21"/>
    <p:sldId id="502" r:id="rId22"/>
    <p:sldId id="506" r:id="rId23"/>
    <p:sldId id="503" r:id="rId24"/>
    <p:sldId id="507" r:id="rId25"/>
    <p:sldId id="504" r:id="rId26"/>
    <p:sldId id="510" r:id="rId27"/>
    <p:sldId id="511" r:id="rId28"/>
    <p:sldId id="423" r:id="rId29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BE6E8B7-7891-3D4D-BCAF-B1704F2B7090}">
          <p14:sldIdLst>
            <p14:sldId id="285"/>
            <p14:sldId id="508"/>
            <p14:sldId id="512"/>
            <p14:sldId id="501"/>
            <p14:sldId id="370"/>
            <p14:sldId id="497"/>
            <p14:sldId id="449"/>
            <p14:sldId id="498"/>
            <p14:sldId id="499"/>
            <p14:sldId id="448"/>
            <p14:sldId id="500"/>
            <p14:sldId id="505"/>
            <p14:sldId id="502"/>
            <p14:sldId id="506"/>
            <p14:sldId id="503"/>
            <p14:sldId id="507"/>
            <p14:sldId id="504"/>
            <p14:sldId id="510"/>
            <p14:sldId id="511"/>
            <p14:sldId id="42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23755"/>
    <a:srgbClr val="E77A24"/>
    <a:srgbClr val="E6E4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7A97DB3-1C05-924B-9DE0-429777EA4750}" v="1" dt="2022-05-09T13:58:32.76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910"/>
    <p:restoredTop sz="94422"/>
  </p:normalViewPr>
  <p:slideViewPr>
    <p:cSldViewPr snapToGrid="0" snapToObjects="1">
      <p:cViewPr varScale="1">
        <p:scale>
          <a:sx n="116" d="100"/>
          <a:sy n="116" d="100"/>
        </p:scale>
        <p:origin x="200" y="91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311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139" d="100"/>
          <a:sy n="139" d="100"/>
        </p:scale>
        <p:origin x="4680" y="1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microsoft.com/office/2015/10/relationships/revisionInfo" Target="revisionInfo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notesMaster" Target="notesMasters/notesMaster1.xml"/><Relationship Id="rId35" Type="http://schemas.microsoft.com/office/2016/11/relationships/changesInfo" Target="changesInfos/changesInfo1.xml"/><Relationship Id="rId8" Type="http://schemas.openxmlformats.org/officeDocument/2006/relationships/slideMaster" Target="slideMasters/slideMaster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ug Troxel" userId="25648275-9faf-45a6-bf27-ef8ead0b6f52" providerId="ADAL" clId="{37A97DB3-1C05-924B-9DE0-429777EA4750}"/>
    <pc:docChg chg="modSld">
      <pc:chgData name="Doug Troxel" userId="25648275-9faf-45a6-bf27-ef8ead0b6f52" providerId="ADAL" clId="{37A97DB3-1C05-924B-9DE0-429777EA4750}" dt="2022-05-09T14:01:41.678" v="63" actId="20577"/>
      <pc:docMkLst>
        <pc:docMk/>
      </pc:docMkLst>
      <pc:sldChg chg="modSp mod">
        <pc:chgData name="Doug Troxel" userId="25648275-9faf-45a6-bf27-ef8ead0b6f52" providerId="ADAL" clId="{37A97DB3-1C05-924B-9DE0-429777EA4750}" dt="2022-05-09T13:57:27.385" v="27" actId="20577"/>
        <pc:sldMkLst>
          <pc:docMk/>
          <pc:sldMk cId="2235121699" sldId="499"/>
        </pc:sldMkLst>
        <pc:spChg chg="mod">
          <ac:chgData name="Doug Troxel" userId="25648275-9faf-45a6-bf27-ef8ead0b6f52" providerId="ADAL" clId="{37A97DB3-1C05-924B-9DE0-429777EA4750}" dt="2022-05-09T13:56:50.991" v="7" actId="20577"/>
          <ac:spMkLst>
            <pc:docMk/>
            <pc:sldMk cId="2235121699" sldId="499"/>
            <ac:spMk id="2" creationId="{39E17906-A39B-4349-B2A4-5AD4AD121DC3}"/>
          </ac:spMkLst>
        </pc:spChg>
        <pc:spChg chg="mod">
          <ac:chgData name="Doug Troxel" userId="25648275-9faf-45a6-bf27-ef8ead0b6f52" providerId="ADAL" clId="{37A97DB3-1C05-924B-9DE0-429777EA4750}" dt="2022-05-09T13:57:27.385" v="27" actId="20577"/>
          <ac:spMkLst>
            <pc:docMk/>
            <pc:sldMk cId="2235121699" sldId="499"/>
            <ac:spMk id="7" creationId="{56D7227E-8D80-BA4C-B029-F92F29D9312B}"/>
          </ac:spMkLst>
        </pc:spChg>
      </pc:sldChg>
      <pc:sldChg chg="modSp mod">
        <pc:chgData name="Doug Troxel" userId="25648275-9faf-45a6-bf27-ef8ead0b6f52" providerId="ADAL" clId="{37A97DB3-1C05-924B-9DE0-429777EA4750}" dt="2022-05-09T13:59:19.468" v="43" actId="20577"/>
        <pc:sldMkLst>
          <pc:docMk/>
          <pc:sldMk cId="3823447277" sldId="500"/>
        </pc:sldMkLst>
        <pc:spChg chg="mod">
          <ac:chgData name="Doug Troxel" userId="25648275-9faf-45a6-bf27-ef8ead0b6f52" providerId="ADAL" clId="{37A97DB3-1C05-924B-9DE0-429777EA4750}" dt="2022-05-09T13:59:19.468" v="43" actId="20577"/>
          <ac:spMkLst>
            <pc:docMk/>
            <pc:sldMk cId="3823447277" sldId="500"/>
            <ac:spMk id="7" creationId="{56D7227E-8D80-BA4C-B029-F92F29D9312B}"/>
          </ac:spMkLst>
        </pc:spChg>
      </pc:sldChg>
      <pc:sldChg chg="modSp mod">
        <pc:chgData name="Doug Troxel" userId="25648275-9faf-45a6-bf27-ef8ead0b6f52" providerId="ADAL" clId="{37A97DB3-1C05-924B-9DE0-429777EA4750}" dt="2022-05-09T14:00:45.257" v="59" actId="20577"/>
        <pc:sldMkLst>
          <pc:docMk/>
          <pc:sldMk cId="3145584355" sldId="503"/>
        </pc:sldMkLst>
        <pc:spChg chg="mod">
          <ac:chgData name="Doug Troxel" userId="25648275-9faf-45a6-bf27-ef8ead0b6f52" providerId="ADAL" clId="{37A97DB3-1C05-924B-9DE0-429777EA4750}" dt="2022-05-09T14:00:45.257" v="59" actId="20577"/>
          <ac:spMkLst>
            <pc:docMk/>
            <pc:sldMk cId="3145584355" sldId="503"/>
            <ac:spMk id="5" creationId="{31430553-D934-194C-9572-E5C6BD155393}"/>
          </ac:spMkLst>
        </pc:spChg>
      </pc:sldChg>
      <pc:sldChg chg="modSp mod">
        <pc:chgData name="Doug Troxel" userId="25648275-9faf-45a6-bf27-ef8ead0b6f52" providerId="ADAL" clId="{37A97DB3-1C05-924B-9DE0-429777EA4750}" dt="2022-05-09T14:01:41.678" v="63" actId="20577"/>
        <pc:sldMkLst>
          <pc:docMk/>
          <pc:sldMk cId="2857309742" sldId="504"/>
        </pc:sldMkLst>
        <pc:spChg chg="mod">
          <ac:chgData name="Doug Troxel" userId="25648275-9faf-45a6-bf27-ef8ead0b6f52" providerId="ADAL" clId="{37A97DB3-1C05-924B-9DE0-429777EA4750}" dt="2022-05-09T14:01:41.678" v="63" actId="20577"/>
          <ac:spMkLst>
            <pc:docMk/>
            <pc:sldMk cId="2857309742" sldId="504"/>
            <ac:spMk id="3" creationId="{4723357D-BF30-6E4D-B103-03391DDAC2FA}"/>
          </ac:spMkLst>
        </pc:spChg>
      </pc:sldChg>
      <pc:sldChg chg="modSp mod">
        <pc:chgData name="Doug Troxel" userId="25648275-9faf-45a6-bf27-ef8ead0b6f52" providerId="ADAL" clId="{37A97DB3-1C05-924B-9DE0-429777EA4750}" dt="2022-05-09T13:59:47.258" v="53" actId="20577"/>
        <pc:sldMkLst>
          <pc:docMk/>
          <pc:sldMk cId="1349377048" sldId="505"/>
        </pc:sldMkLst>
        <pc:spChg chg="mod">
          <ac:chgData name="Doug Troxel" userId="25648275-9faf-45a6-bf27-ef8ead0b6f52" providerId="ADAL" clId="{37A97DB3-1C05-924B-9DE0-429777EA4750}" dt="2022-05-09T13:59:47.258" v="53" actId="20577"/>
          <ac:spMkLst>
            <pc:docMk/>
            <pc:sldMk cId="1349377048" sldId="505"/>
            <ac:spMk id="5" creationId="{16258B01-2448-B948-9504-635FC1C72EE7}"/>
          </ac:spMkLst>
        </pc:spChg>
      </pc:sldChg>
    </pc:docChg>
  </pc:docChgLst>
  <pc:docChgLst>
    <pc:chgData name="Doug Troxel" userId="25648275-9faf-45a6-bf27-ef8ead0b6f52" providerId="ADAL" clId="{A8738A17-E897-BC4B-9F86-5B00833237AD}"/>
    <pc:docChg chg="undo custSel addSld delSld modSld sldOrd modMainMaster modSection">
      <pc:chgData name="Doug Troxel" userId="25648275-9faf-45a6-bf27-ef8ead0b6f52" providerId="ADAL" clId="{A8738A17-E897-BC4B-9F86-5B00833237AD}" dt="2022-02-15T19:24:53.576" v="1919"/>
      <pc:docMkLst>
        <pc:docMk/>
      </pc:docMkLst>
      <pc:sldChg chg="modTransition">
        <pc:chgData name="Doug Troxel" userId="25648275-9faf-45a6-bf27-ef8ead0b6f52" providerId="ADAL" clId="{A8738A17-E897-BC4B-9F86-5B00833237AD}" dt="2022-02-10T20:22:37.095" v="1704"/>
        <pc:sldMkLst>
          <pc:docMk/>
          <pc:sldMk cId="3903338789" sldId="285"/>
        </pc:sldMkLst>
      </pc:sldChg>
      <pc:sldChg chg="modTransition">
        <pc:chgData name="Doug Troxel" userId="25648275-9faf-45a6-bf27-ef8ead0b6f52" providerId="ADAL" clId="{A8738A17-E897-BC4B-9F86-5B00833237AD}" dt="2022-02-10T20:22:37.095" v="1704"/>
        <pc:sldMkLst>
          <pc:docMk/>
          <pc:sldMk cId="1619319365" sldId="370"/>
        </pc:sldMkLst>
      </pc:sldChg>
      <pc:sldChg chg="modSp mod modTransition">
        <pc:chgData name="Doug Troxel" userId="25648275-9faf-45a6-bf27-ef8ead0b6f52" providerId="ADAL" clId="{A8738A17-E897-BC4B-9F86-5B00833237AD}" dt="2022-02-10T20:22:37.095" v="1704"/>
        <pc:sldMkLst>
          <pc:docMk/>
          <pc:sldMk cId="1859309" sldId="423"/>
        </pc:sldMkLst>
        <pc:spChg chg="mod">
          <ac:chgData name="Doug Troxel" userId="25648275-9faf-45a6-bf27-ef8ead0b6f52" providerId="ADAL" clId="{A8738A17-E897-BC4B-9F86-5B00833237AD}" dt="2022-02-09T17:34:16.426" v="1693" actId="6549"/>
          <ac:spMkLst>
            <pc:docMk/>
            <pc:sldMk cId="1859309" sldId="423"/>
            <ac:spMk id="4" creationId="{99FDB8C6-8BCF-4942-857E-37FA1BF6FDAA}"/>
          </ac:spMkLst>
        </pc:spChg>
      </pc:sldChg>
      <pc:sldChg chg="modSp modTransition">
        <pc:chgData name="Doug Troxel" userId="25648275-9faf-45a6-bf27-ef8ead0b6f52" providerId="ADAL" clId="{A8738A17-E897-BC4B-9F86-5B00833237AD}" dt="2022-02-15T17:52:03.191" v="1884"/>
        <pc:sldMkLst>
          <pc:docMk/>
          <pc:sldMk cId="1831738647" sldId="448"/>
        </pc:sldMkLst>
        <pc:spChg chg="mod">
          <ac:chgData name="Doug Troxel" userId="25648275-9faf-45a6-bf27-ef8ead0b6f52" providerId="ADAL" clId="{A8738A17-E897-BC4B-9F86-5B00833237AD}" dt="2022-02-15T17:52:03.191" v="1884"/>
          <ac:spMkLst>
            <pc:docMk/>
            <pc:sldMk cId="1831738647" sldId="448"/>
            <ac:spMk id="3" creationId="{11BB0F47-D14E-9D47-9A7B-1B05A9D651B3}"/>
          </ac:spMkLst>
        </pc:spChg>
      </pc:sldChg>
      <pc:sldChg chg="modTransition">
        <pc:chgData name="Doug Troxel" userId="25648275-9faf-45a6-bf27-ef8ead0b6f52" providerId="ADAL" clId="{A8738A17-E897-BC4B-9F86-5B00833237AD}" dt="2022-02-10T20:22:37.095" v="1704"/>
        <pc:sldMkLst>
          <pc:docMk/>
          <pc:sldMk cId="479227883" sldId="449"/>
        </pc:sldMkLst>
      </pc:sldChg>
      <pc:sldChg chg="modTransition">
        <pc:chgData name="Doug Troxel" userId="25648275-9faf-45a6-bf27-ef8ead0b6f52" providerId="ADAL" clId="{A8738A17-E897-BC4B-9F86-5B00833237AD}" dt="2022-02-10T20:22:37.095" v="1704"/>
        <pc:sldMkLst>
          <pc:docMk/>
          <pc:sldMk cId="3627674979" sldId="497"/>
        </pc:sldMkLst>
      </pc:sldChg>
      <pc:sldChg chg="modSp mod modTransition">
        <pc:chgData name="Doug Troxel" userId="25648275-9faf-45a6-bf27-ef8ead0b6f52" providerId="ADAL" clId="{A8738A17-E897-BC4B-9F86-5B00833237AD}" dt="2022-02-15T19:17:54.273" v="1917" actId="20577"/>
        <pc:sldMkLst>
          <pc:docMk/>
          <pc:sldMk cId="2010948955" sldId="498"/>
        </pc:sldMkLst>
        <pc:spChg chg="mod">
          <ac:chgData name="Doug Troxel" userId="25648275-9faf-45a6-bf27-ef8ead0b6f52" providerId="ADAL" clId="{A8738A17-E897-BC4B-9F86-5B00833237AD}" dt="2022-02-15T19:17:54.273" v="1917" actId="20577"/>
          <ac:spMkLst>
            <pc:docMk/>
            <pc:sldMk cId="2010948955" sldId="498"/>
            <ac:spMk id="7" creationId="{56D7227E-8D80-BA4C-B029-F92F29D9312B}"/>
          </ac:spMkLst>
        </pc:spChg>
      </pc:sldChg>
      <pc:sldChg chg="modTransition">
        <pc:chgData name="Doug Troxel" userId="25648275-9faf-45a6-bf27-ef8ead0b6f52" providerId="ADAL" clId="{A8738A17-E897-BC4B-9F86-5B00833237AD}" dt="2022-02-10T20:22:37.095" v="1704"/>
        <pc:sldMkLst>
          <pc:docMk/>
          <pc:sldMk cId="2235121699" sldId="499"/>
        </pc:sldMkLst>
      </pc:sldChg>
      <pc:sldChg chg="modTransition">
        <pc:chgData name="Doug Troxel" userId="25648275-9faf-45a6-bf27-ef8ead0b6f52" providerId="ADAL" clId="{A8738A17-E897-BC4B-9F86-5B00833237AD}" dt="2022-02-10T20:22:37.095" v="1704"/>
        <pc:sldMkLst>
          <pc:docMk/>
          <pc:sldMk cId="3823447277" sldId="500"/>
        </pc:sldMkLst>
      </pc:sldChg>
      <pc:sldChg chg="modSp mod modTransition">
        <pc:chgData name="Doug Troxel" userId="25648275-9faf-45a6-bf27-ef8ead0b6f52" providerId="ADAL" clId="{A8738A17-E897-BC4B-9F86-5B00833237AD}" dt="2022-02-10T20:22:37.095" v="1704"/>
        <pc:sldMkLst>
          <pc:docMk/>
          <pc:sldMk cId="3913936433" sldId="501"/>
        </pc:sldMkLst>
        <pc:spChg chg="mod">
          <ac:chgData name="Doug Troxel" userId="25648275-9faf-45a6-bf27-ef8ead0b6f52" providerId="ADAL" clId="{A8738A17-E897-BC4B-9F86-5B00833237AD}" dt="2022-02-09T21:21:52.447" v="1699" actId="1076"/>
          <ac:spMkLst>
            <pc:docMk/>
            <pc:sldMk cId="3913936433" sldId="501"/>
            <ac:spMk id="7" creationId="{00000000-0000-0000-0000-000000000000}"/>
          </ac:spMkLst>
        </pc:spChg>
        <pc:spChg chg="mod">
          <ac:chgData name="Doug Troxel" userId="25648275-9faf-45a6-bf27-ef8ead0b6f52" providerId="ADAL" clId="{A8738A17-E897-BC4B-9F86-5B00833237AD}" dt="2022-02-10T15:59:55.830" v="1701" actId="1076"/>
          <ac:spMkLst>
            <pc:docMk/>
            <pc:sldMk cId="3913936433" sldId="501"/>
            <ac:spMk id="55" creationId="{203DA213-8D16-9A4B-B791-82761B8B93E8}"/>
          </ac:spMkLst>
        </pc:spChg>
        <pc:spChg chg="mod">
          <ac:chgData name="Doug Troxel" userId="25648275-9faf-45a6-bf27-ef8ead0b6f52" providerId="ADAL" clId="{A8738A17-E897-BC4B-9F86-5B00833237AD}" dt="2022-02-09T21:22:27.178" v="1700" actId="1076"/>
          <ac:spMkLst>
            <pc:docMk/>
            <pc:sldMk cId="3913936433" sldId="501"/>
            <ac:spMk id="56" creationId="{CBF189BB-8EE6-624D-81B6-82E26C94399A}"/>
          </ac:spMkLst>
        </pc:spChg>
        <pc:grpChg chg="mod">
          <ac:chgData name="Doug Troxel" userId="25648275-9faf-45a6-bf27-ef8ead0b6f52" providerId="ADAL" clId="{A8738A17-E897-BC4B-9F86-5B00833237AD}" dt="2022-02-09T21:21:31.894" v="1697" actId="1076"/>
          <ac:grpSpMkLst>
            <pc:docMk/>
            <pc:sldMk cId="3913936433" sldId="501"/>
            <ac:grpSpMk id="8" creationId="{00000000-0000-0000-0000-000000000000}"/>
          </ac:grpSpMkLst>
        </pc:grpChg>
      </pc:sldChg>
      <pc:sldChg chg="modTransition">
        <pc:chgData name="Doug Troxel" userId="25648275-9faf-45a6-bf27-ef8ead0b6f52" providerId="ADAL" clId="{A8738A17-E897-BC4B-9F86-5B00833237AD}" dt="2022-02-10T20:22:37.095" v="1704"/>
        <pc:sldMkLst>
          <pc:docMk/>
          <pc:sldMk cId="3298272921" sldId="502"/>
        </pc:sldMkLst>
      </pc:sldChg>
      <pc:sldChg chg="modSp mod modTransition">
        <pc:chgData name="Doug Troxel" userId="25648275-9faf-45a6-bf27-ef8ead0b6f52" providerId="ADAL" clId="{A8738A17-E897-BC4B-9F86-5B00833237AD}" dt="2022-02-15T19:22:36.785" v="1918" actId="20577"/>
        <pc:sldMkLst>
          <pc:docMk/>
          <pc:sldMk cId="3145584355" sldId="503"/>
        </pc:sldMkLst>
        <pc:spChg chg="mod">
          <ac:chgData name="Doug Troxel" userId="25648275-9faf-45a6-bf27-ef8ead0b6f52" providerId="ADAL" clId="{A8738A17-E897-BC4B-9F86-5B00833237AD}" dt="2022-02-15T19:22:36.785" v="1918" actId="20577"/>
          <ac:spMkLst>
            <pc:docMk/>
            <pc:sldMk cId="3145584355" sldId="503"/>
            <ac:spMk id="5" creationId="{31430553-D934-194C-9572-E5C6BD155393}"/>
          </ac:spMkLst>
        </pc:spChg>
      </pc:sldChg>
      <pc:sldChg chg="modSp modTransition">
        <pc:chgData name="Doug Troxel" userId="25648275-9faf-45a6-bf27-ef8ead0b6f52" providerId="ADAL" clId="{A8738A17-E897-BC4B-9F86-5B00833237AD}" dt="2022-02-15T19:24:53.576" v="1919"/>
        <pc:sldMkLst>
          <pc:docMk/>
          <pc:sldMk cId="2857309742" sldId="504"/>
        </pc:sldMkLst>
        <pc:spChg chg="mod">
          <ac:chgData name="Doug Troxel" userId="25648275-9faf-45a6-bf27-ef8ead0b6f52" providerId="ADAL" clId="{A8738A17-E897-BC4B-9F86-5B00833237AD}" dt="2022-02-15T19:24:53.576" v="1919"/>
          <ac:spMkLst>
            <pc:docMk/>
            <pc:sldMk cId="2857309742" sldId="504"/>
            <ac:spMk id="3" creationId="{4723357D-BF30-6E4D-B103-03391DDAC2FA}"/>
          </ac:spMkLst>
        </pc:spChg>
      </pc:sldChg>
      <pc:sldChg chg="modSp mod modTransition">
        <pc:chgData name="Doug Troxel" userId="25648275-9faf-45a6-bf27-ef8ead0b6f52" providerId="ADAL" clId="{A8738A17-E897-BC4B-9F86-5B00833237AD}" dt="2022-02-10T20:22:37.095" v="1704"/>
        <pc:sldMkLst>
          <pc:docMk/>
          <pc:sldMk cId="1349377048" sldId="505"/>
        </pc:sldMkLst>
        <pc:spChg chg="mod">
          <ac:chgData name="Doug Troxel" userId="25648275-9faf-45a6-bf27-ef8ead0b6f52" providerId="ADAL" clId="{A8738A17-E897-BC4B-9F86-5B00833237AD}" dt="2022-02-09T16:33:20.637" v="987" actId="21"/>
          <ac:spMkLst>
            <pc:docMk/>
            <pc:sldMk cId="1349377048" sldId="505"/>
            <ac:spMk id="5" creationId="{16258B01-2448-B948-9504-635FC1C72EE7}"/>
          </ac:spMkLst>
        </pc:spChg>
      </pc:sldChg>
      <pc:sldChg chg="modSp modTransition">
        <pc:chgData name="Doug Troxel" userId="25648275-9faf-45a6-bf27-ef8ead0b6f52" providerId="ADAL" clId="{A8738A17-E897-BC4B-9F86-5B00833237AD}" dt="2022-02-10T20:22:37.095" v="1704"/>
        <pc:sldMkLst>
          <pc:docMk/>
          <pc:sldMk cId="1646819289" sldId="506"/>
        </pc:sldMkLst>
        <pc:spChg chg="mod">
          <ac:chgData name="Doug Troxel" userId="25648275-9faf-45a6-bf27-ef8ead0b6f52" providerId="ADAL" clId="{A8738A17-E897-BC4B-9F86-5B00833237AD}" dt="2022-02-10T16:39:05.386" v="1702"/>
          <ac:spMkLst>
            <pc:docMk/>
            <pc:sldMk cId="1646819289" sldId="506"/>
            <ac:spMk id="7" creationId="{56D7227E-8D80-BA4C-B029-F92F29D9312B}"/>
          </ac:spMkLst>
        </pc:spChg>
      </pc:sldChg>
      <pc:sldChg chg="modTransition">
        <pc:chgData name="Doug Troxel" userId="25648275-9faf-45a6-bf27-ef8ead0b6f52" providerId="ADAL" clId="{A8738A17-E897-BC4B-9F86-5B00833237AD}" dt="2022-02-10T20:22:37.095" v="1704"/>
        <pc:sldMkLst>
          <pc:docMk/>
          <pc:sldMk cId="3675969450" sldId="507"/>
        </pc:sldMkLst>
      </pc:sldChg>
      <pc:sldChg chg="modSp mod modTransition">
        <pc:chgData name="Doug Troxel" userId="25648275-9faf-45a6-bf27-ef8ead0b6f52" providerId="ADAL" clId="{A8738A17-E897-BC4B-9F86-5B00833237AD}" dt="2022-02-11T14:21:08.743" v="1883" actId="6549"/>
        <pc:sldMkLst>
          <pc:docMk/>
          <pc:sldMk cId="1922898446" sldId="508"/>
        </pc:sldMkLst>
        <pc:spChg chg="mod">
          <ac:chgData name="Doug Troxel" userId="25648275-9faf-45a6-bf27-ef8ead0b6f52" providerId="ADAL" clId="{A8738A17-E897-BC4B-9F86-5B00833237AD}" dt="2022-02-11T14:21:08.743" v="1883" actId="6549"/>
          <ac:spMkLst>
            <pc:docMk/>
            <pc:sldMk cId="1922898446" sldId="508"/>
            <ac:spMk id="3" creationId="{00000000-0000-0000-0000-000000000000}"/>
          </ac:spMkLst>
        </pc:spChg>
        <pc:spChg chg="mod">
          <ac:chgData name="Doug Troxel" userId="25648275-9faf-45a6-bf27-ef8ead0b6f52" providerId="ADAL" clId="{A8738A17-E897-BC4B-9F86-5B00833237AD}" dt="2022-02-11T14:16:10.058" v="1714" actId="6549"/>
          <ac:spMkLst>
            <pc:docMk/>
            <pc:sldMk cId="1922898446" sldId="508"/>
            <ac:spMk id="5" creationId="{00000000-0000-0000-0000-000000000000}"/>
          </ac:spMkLst>
        </pc:spChg>
      </pc:sldChg>
      <pc:sldChg chg="modSp new del mod ord">
        <pc:chgData name="Doug Troxel" userId="25648275-9faf-45a6-bf27-ef8ead0b6f52" providerId="ADAL" clId="{A8738A17-E897-BC4B-9F86-5B00833237AD}" dt="2022-02-08T16:43:16.832" v="746" actId="2696"/>
        <pc:sldMkLst>
          <pc:docMk/>
          <pc:sldMk cId="2103665509" sldId="509"/>
        </pc:sldMkLst>
        <pc:spChg chg="mod">
          <ac:chgData name="Doug Troxel" userId="25648275-9faf-45a6-bf27-ef8ead0b6f52" providerId="ADAL" clId="{A8738A17-E897-BC4B-9F86-5B00833237AD}" dt="2022-02-08T16:32:17.531" v="418" actId="20577"/>
          <ac:spMkLst>
            <pc:docMk/>
            <pc:sldMk cId="2103665509" sldId="509"/>
            <ac:spMk id="2" creationId="{19ED70C8-FE8F-D246-A4B6-937CC03B6AB2}"/>
          </ac:spMkLst>
        </pc:spChg>
        <pc:spChg chg="mod">
          <ac:chgData name="Doug Troxel" userId="25648275-9faf-45a6-bf27-ef8ead0b6f52" providerId="ADAL" clId="{A8738A17-E897-BC4B-9F86-5B00833237AD}" dt="2022-02-08T16:34:32.173" v="603" actId="108"/>
          <ac:spMkLst>
            <pc:docMk/>
            <pc:sldMk cId="2103665509" sldId="509"/>
            <ac:spMk id="3" creationId="{789843E1-8191-5F4A-9357-339CC68EA621}"/>
          </ac:spMkLst>
        </pc:spChg>
      </pc:sldChg>
      <pc:sldChg chg="modSp new del mod ord">
        <pc:chgData name="Doug Troxel" userId="25648275-9faf-45a6-bf27-ef8ead0b6f52" providerId="ADAL" clId="{A8738A17-E897-BC4B-9F86-5B00833237AD}" dt="2022-02-08T16:33:47.730" v="601" actId="2696"/>
        <pc:sldMkLst>
          <pc:docMk/>
          <pc:sldMk cId="833797392" sldId="510"/>
        </pc:sldMkLst>
        <pc:spChg chg="mod">
          <ac:chgData name="Doug Troxel" userId="25648275-9faf-45a6-bf27-ef8ead0b6f52" providerId="ADAL" clId="{A8738A17-E897-BC4B-9F86-5B00833237AD}" dt="2022-02-08T16:29:47.914" v="23" actId="108"/>
          <ac:spMkLst>
            <pc:docMk/>
            <pc:sldMk cId="833797392" sldId="510"/>
            <ac:spMk id="2" creationId="{0073E6F7-EB36-AB46-A74F-3A308D0F5E9E}"/>
          </ac:spMkLst>
        </pc:spChg>
      </pc:sldChg>
      <pc:sldChg chg="modSp add mod modTransition">
        <pc:chgData name="Doug Troxel" userId="25648275-9faf-45a6-bf27-ef8ead0b6f52" providerId="ADAL" clId="{A8738A17-E897-BC4B-9F86-5B00833237AD}" dt="2022-02-10T20:22:37.095" v="1704"/>
        <pc:sldMkLst>
          <pc:docMk/>
          <pc:sldMk cId="4085673671" sldId="510"/>
        </pc:sldMkLst>
        <pc:spChg chg="mod">
          <ac:chgData name="Doug Troxel" userId="25648275-9faf-45a6-bf27-ef8ead0b6f52" providerId="ADAL" clId="{A8738A17-E897-BC4B-9F86-5B00833237AD}" dt="2022-02-08T16:34:58.911" v="611" actId="20577"/>
          <ac:spMkLst>
            <pc:docMk/>
            <pc:sldMk cId="4085673671" sldId="510"/>
            <ac:spMk id="2" creationId="{39E17906-A39B-4349-B2A4-5AD4AD121DC3}"/>
          </ac:spMkLst>
        </pc:spChg>
        <pc:spChg chg="mod">
          <ac:chgData name="Doug Troxel" userId="25648275-9faf-45a6-bf27-ef8ead0b6f52" providerId="ADAL" clId="{A8738A17-E897-BC4B-9F86-5B00833237AD}" dt="2022-02-09T16:46:29.585" v="1058" actId="20577"/>
          <ac:spMkLst>
            <pc:docMk/>
            <pc:sldMk cId="4085673671" sldId="510"/>
            <ac:spMk id="3" creationId="{4723357D-BF30-6E4D-B103-03391DDAC2FA}"/>
          </ac:spMkLst>
        </pc:spChg>
      </pc:sldChg>
      <pc:sldChg chg="modSp add mod modTransition">
        <pc:chgData name="Doug Troxel" userId="25648275-9faf-45a6-bf27-ef8ead0b6f52" providerId="ADAL" clId="{A8738A17-E897-BC4B-9F86-5B00833237AD}" dt="2022-02-10T20:22:37.095" v="1704"/>
        <pc:sldMkLst>
          <pc:docMk/>
          <pc:sldMk cId="2433938786" sldId="511"/>
        </pc:sldMkLst>
        <pc:spChg chg="mod">
          <ac:chgData name="Doug Troxel" userId="25648275-9faf-45a6-bf27-ef8ead0b6f52" providerId="ADAL" clId="{A8738A17-E897-BC4B-9F86-5B00833237AD}" dt="2022-02-09T16:58:35.113" v="1311" actId="20577"/>
          <ac:spMkLst>
            <pc:docMk/>
            <pc:sldMk cId="2433938786" sldId="511"/>
            <ac:spMk id="2" creationId="{39E17906-A39B-4349-B2A4-5AD4AD121DC3}"/>
          </ac:spMkLst>
        </pc:spChg>
        <pc:spChg chg="mod">
          <ac:chgData name="Doug Troxel" userId="25648275-9faf-45a6-bf27-ef8ead0b6f52" providerId="ADAL" clId="{A8738A17-E897-BC4B-9F86-5B00833237AD}" dt="2022-02-09T17:33:29.487" v="1692" actId="20577"/>
          <ac:spMkLst>
            <pc:docMk/>
            <pc:sldMk cId="2433938786" sldId="511"/>
            <ac:spMk id="3" creationId="{4723357D-BF30-6E4D-B103-03391DDAC2FA}"/>
          </ac:spMkLst>
        </pc:spChg>
      </pc:sldChg>
      <pc:sldChg chg="modSp add mod">
        <pc:chgData name="Doug Troxel" userId="25648275-9faf-45a6-bf27-ef8ead0b6f52" providerId="ADAL" clId="{A8738A17-E897-BC4B-9F86-5B00833237AD}" dt="2022-02-15T19:16:23.664" v="1887" actId="6549"/>
        <pc:sldMkLst>
          <pc:docMk/>
          <pc:sldMk cId="2698363100" sldId="512"/>
        </pc:sldMkLst>
        <pc:spChg chg="mod">
          <ac:chgData name="Doug Troxel" userId="25648275-9faf-45a6-bf27-ef8ead0b6f52" providerId="ADAL" clId="{A8738A17-E897-BC4B-9F86-5B00833237AD}" dt="2022-02-15T19:16:23.664" v="1887" actId="6549"/>
          <ac:spMkLst>
            <pc:docMk/>
            <pc:sldMk cId="2698363100" sldId="512"/>
            <ac:spMk id="3" creationId="{00000000-0000-0000-0000-000000000000}"/>
          </ac:spMkLst>
        </pc:spChg>
      </pc:sldChg>
      <pc:sldMasterChg chg="modTransition modSldLayout">
        <pc:chgData name="Doug Troxel" userId="25648275-9faf-45a6-bf27-ef8ead0b6f52" providerId="ADAL" clId="{A8738A17-E897-BC4B-9F86-5B00833237AD}" dt="2022-02-10T20:22:37.095" v="1704"/>
        <pc:sldMasterMkLst>
          <pc:docMk/>
          <pc:sldMasterMk cId="797530333" sldId="2147483660"/>
        </pc:sldMasterMkLst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797530333" sldId="2147483660"/>
            <pc:sldLayoutMk cId="68065675" sldId="2147483661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797530333" sldId="2147483660"/>
            <pc:sldLayoutMk cId="3838891460" sldId="2147483662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797530333" sldId="2147483660"/>
            <pc:sldLayoutMk cId="2742235143" sldId="2147483663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797530333" sldId="2147483660"/>
            <pc:sldLayoutMk cId="2807365325" sldId="2147483664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797530333" sldId="2147483660"/>
            <pc:sldLayoutMk cId="2834537632" sldId="2147483665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797530333" sldId="2147483660"/>
            <pc:sldLayoutMk cId="2048380812" sldId="2147483666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797530333" sldId="2147483660"/>
            <pc:sldLayoutMk cId="3530913992" sldId="2147483667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797530333" sldId="2147483660"/>
            <pc:sldLayoutMk cId="1783481424" sldId="2147483668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797530333" sldId="2147483660"/>
            <pc:sldLayoutMk cId="761796786" sldId="2147483669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797530333" sldId="2147483660"/>
            <pc:sldLayoutMk cId="1782211500" sldId="2147483670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797530333" sldId="2147483660"/>
            <pc:sldLayoutMk cId="2935028047" sldId="2147483671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797530333" sldId="2147483660"/>
            <pc:sldLayoutMk cId="1486461442" sldId="2147483672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797530333" sldId="2147483660"/>
            <pc:sldLayoutMk cId="3264418560" sldId="2147483673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797530333" sldId="2147483660"/>
            <pc:sldLayoutMk cId="1898986306" sldId="2147483674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797530333" sldId="2147483660"/>
            <pc:sldLayoutMk cId="3557874460" sldId="2147483675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797530333" sldId="2147483660"/>
            <pc:sldLayoutMk cId="2073787762" sldId="2147483676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797530333" sldId="2147483660"/>
            <pc:sldLayoutMk cId="2292705457" sldId="2147483677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797530333" sldId="2147483660"/>
            <pc:sldLayoutMk cId="1253858641" sldId="2147483678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797530333" sldId="2147483660"/>
            <pc:sldLayoutMk cId="2145449199" sldId="2147483679"/>
          </pc:sldLayoutMkLst>
        </pc:sldLayoutChg>
      </pc:sldMasterChg>
      <pc:sldMasterChg chg="modTransition modSldLayout">
        <pc:chgData name="Doug Troxel" userId="25648275-9faf-45a6-bf27-ef8ead0b6f52" providerId="ADAL" clId="{A8738A17-E897-BC4B-9F86-5B00833237AD}" dt="2022-02-10T20:22:37.095" v="1704"/>
        <pc:sldMasterMkLst>
          <pc:docMk/>
          <pc:sldMasterMk cId="1150799022" sldId="2147483680"/>
        </pc:sldMasterMkLst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1115633871" sldId="2147483681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1386548875" sldId="2147483682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3233681950" sldId="2147483683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1855579429" sldId="2147483684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914318205" sldId="2147483685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683941265" sldId="2147483686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48422144" sldId="2147483687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1506884125" sldId="2147483688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4123989958" sldId="2147483689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498958886" sldId="2147483690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470421207" sldId="2147483691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516505427" sldId="2147483692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957904305" sldId="2147483693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821669225" sldId="2147483694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3081278050" sldId="2147483695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833432752" sldId="2147483696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247142987" sldId="2147483697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2890988533" sldId="2147483698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3585958821" sldId="2147483699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2222679165" sldId="2147483700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3059088084" sldId="2147483701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1150799022" sldId="2147483680"/>
            <pc:sldLayoutMk cId="2009620300" sldId="2147483752"/>
          </pc:sldLayoutMkLst>
        </pc:sldLayoutChg>
      </pc:sldMasterChg>
      <pc:sldMasterChg chg="modTransition modSldLayout">
        <pc:chgData name="Doug Troxel" userId="25648275-9faf-45a6-bf27-ef8ead0b6f52" providerId="ADAL" clId="{A8738A17-E897-BC4B-9F86-5B00833237AD}" dt="2022-02-10T20:22:37.095" v="1704"/>
        <pc:sldMasterMkLst>
          <pc:docMk/>
          <pc:sldMasterMk cId="340126455" sldId="2147483702"/>
        </pc:sldMasterMkLst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40126455" sldId="2147483702"/>
            <pc:sldLayoutMk cId="3600942406" sldId="2147483703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40126455" sldId="2147483702"/>
            <pc:sldLayoutMk cId="1377597464" sldId="2147483704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40126455" sldId="2147483702"/>
            <pc:sldLayoutMk cId="2011943067" sldId="2147483705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40126455" sldId="2147483702"/>
            <pc:sldLayoutMk cId="2100015163" sldId="2147483706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40126455" sldId="2147483702"/>
            <pc:sldLayoutMk cId="3324613346" sldId="2147483707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40126455" sldId="2147483702"/>
            <pc:sldLayoutMk cId="230064327" sldId="2147483708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40126455" sldId="2147483702"/>
            <pc:sldLayoutMk cId="3283327701" sldId="2147483709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40126455" sldId="2147483702"/>
            <pc:sldLayoutMk cId="3635637721" sldId="2147483710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40126455" sldId="2147483702"/>
            <pc:sldLayoutMk cId="4178395069" sldId="2147483711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40126455" sldId="2147483702"/>
            <pc:sldLayoutMk cId="2370174994" sldId="2147483712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40126455" sldId="2147483702"/>
            <pc:sldLayoutMk cId="1169360871" sldId="2147483713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40126455" sldId="2147483702"/>
            <pc:sldLayoutMk cId="2744211063" sldId="2147483714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40126455" sldId="2147483702"/>
            <pc:sldLayoutMk cId="251430833" sldId="2147483715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40126455" sldId="2147483702"/>
            <pc:sldLayoutMk cId="3561663669" sldId="2147483716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40126455" sldId="2147483702"/>
            <pc:sldLayoutMk cId="110620273" sldId="2147483717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40126455" sldId="2147483702"/>
            <pc:sldLayoutMk cId="2342962627" sldId="2147483718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40126455" sldId="2147483702"/>
            <pc:sldLayoutMk cId="1365715521" sldId="2147483719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40126455" sldId="2147483702"/>
            <pc:sldLayoutMk cId="3079448240" sldId="2147483720"/>
          </pc:sldLayoutMkLst>
        </pc:sldLayoutChg>
      </pc:sldMasterChg>
      <pc:sldMasterChg chg="modTransition modSldLayout">
        <pc:chgData name="Doug Troxel" userId="25648275-9faf-45a6-bf27-ef8ead0b6f52" providerId="ADAL" clId="{A8738A17-E897-BC4B-9F86-5B00833237AD}" dt="2022-02-10T20:22:37.095" v="1704"/>
        <pc:sldMasterMkLst>
          <pc:docMk/>
          <pc:sldMasterMk cId="659854382" sldId="2147483721"/>
        </pc:sldMasterMkLst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659854382" sldId="2147483721"/>
            <pc:sldLayoutMk cId="1248639638" sldId="2147483722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659854382" sldId="2147483721"/>
            <pc:sldLayoutMk cId="1535253499" sldId="2147483723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659854382" sldId="2147483721"/>
            <pc:sldLayoutMk cId="629506821" sldId="2147483724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659854382" sldId="2147483721"/>
            <pc:sldLayoutMk cId="685976484" sldId="2147483725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659854382" sldId="2147483721"/>
            <pc:sldLayoutMk cId="1799569817" sldId="2147483726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659854382" sldId="2147483721"/>
            <pc:sldLayoutMk cId="1284460086" sldId="2147483727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659854382" sldId="2147483721"/>
            <pc:sldLayoutMk cId="554169454" sldId="2147483728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659854382" sldId="2147483721"/>
            <pc:sldLayoutMk cId="1934154861" sldId="2147483729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659854382" sldId="2147483721"/>
            <pc:sldLayoutMk cId="864171879" sldId="2147483730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659854382" sldId="2147483721"/>
            <pc:sldLayoutMk cId="4216384474" sldId="2147483731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659854382" sldId="2147483721"/>
            <pc:sldLayoutMk cId="3088395250" sldId="2147483732"/>
          </pc:sldLayoutMkLst>
        </pc:sldLayoutChg>
      </pc:sldMasterChg>
      <pc:sldMasterChg chg="modTransition modSldLayout">
        <pc:chgData name="Doug Troxel" userId="25648275-9faf-45a6-bf27-ef8ead0b6f52" providerId="ADAL" clId="{A8738A17-E897-BC4B-9F86-5B00833237AD}" dt="2022-02-10T20:22:37.095" v="1704"/>
        <pc:sldMasterMkLst>
          <pc:docMk/>
          <pc:sldMasterMk cId="3216419699" sldId="2147483733"/>
        </pc:sldMasterMkLst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216419699" sldId="2147483733"/>
            <pc:sldLayoutMk cId="3709108373" sldId="2147483734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216419699" sldId="2147483733"/>
            <pc:sldLayoutMk cId="2633291131" sldId="2147483735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216419699" sldId="2147483733"/>
            <pc:sldLayoutMk cId="1240647018" sldId="2147483736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216419699" sldId="2147483733"/>
            <pc:sldLayoutMk cId="1623089242" sldId="2147483737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216419699" sldId="2147483733"/>
            <pc:sldLayoutMk cId="2347535923" sldId="2147483738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216419699" sldId="2147483733"/>
            <pc:sldLayoutMk cId="1727826025" sldId="2147483739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216419699" sldId="2147483733"/>
            <pc:sldLayoutMk cId="1347492193" sldId="2147483740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216419699" sldId="2147483733"/>
            <pc:sldLayoutMk cId="3415086943" sldId="2147483741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216419699" sldId="2147483733"/>
            <pc:sldLayoutMk cId="1455600718" sldId="2147483742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216419699" sldId="2147483733"/>
            <pc:sldLayoutMk cId="1663696875" sldId="2147483743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216419699" sldId="2147483733"/>
            <pc:sldLayoutMk cId="2290464972" sldId="2147483744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216419699" sldId="2147483733"/>
            <pc:sldLayoutMk cId="935553774" sldId="2147483745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216419699" sldId="2147483733"/>
            <pc:sldLayoutMk cId="1729790291" sldId="2147483746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216419699" sldId="2147483733"/>
            <pc:sldLayoutMk cId="15559771" sldId="2147483747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216419699" sldId="2147483733"/>
            <pc:sldLayoutMk cId="4202555759" sldId="2147483748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216419699" sldId="2147483733"/>
            <pc:sldLayoutMk cId="2081672284" sldId="2147483749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216419699" sldId="2147483733"/>
            <pc:sldLayoutMk cId="1785986855" sldId="2147483750"/>
          </pc:sldLayoutMkLst>
        </pc:sldLayoutChg>
        <pc:sldLayoutChg chg="modTransition">
          <pc:chgData name="Doug Troxel" userId="25648275-9faf-45a6-bf27-ef8ead0b6f52" providerId="ADAL" clId="{A8738A17-E897-BC4B-9F86-5B00833237AD}" dt="2022-02-10T20:22:37.095" v="1704"/>
          <pc:sldLayoutMkLst>
            <pc:docMk/>
            <pc:sldMasterMk cId="3216419699" sldId="2147483733"/>
            <pc:sldLayoutMk cId="3826178647" sldId="2147483751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0256AA-94AE-9A49-97E7-A5EB018C464B}" type="datetimeFigureOut">
              <a:rPr lang="en-US" smtClean="0"/>
              <a:t>5/5/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DB79CE-795C-7447-808B-6D3AFF0B4A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90951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B79CE-795C-7447-808B-6D3AFF0B4A1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1072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int-to-point --&gt; Hub and spo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B79CE-795C-7447-808B-6D3AFF0B4A10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54400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int-to-point --&gt; Hub and spo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B79CE-795C-7447-808B-6D3AFF0B4A10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77792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int-to-point --&gt; Hub and spo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B79CE-795C-7447-808B-6D3AFF0B4A10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8465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int-to-point --&gt; Hub and spo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B79CE-795C-7447-808B-6D3AFF0B4A10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8931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int-to-point --&gt; Hub and spo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B79CE-795C-7447-808B-6D3AFF0B4A10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15065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int-to-point --&gt; Hub and spo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B79CE-795C-7447-808B-6D3AFF0B4A10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10389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int-to-point --&gt; Hub and spo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B79CE-795C-7447-808B-6D3AFF0B4A10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99287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int-to-point --&gt; Hub and spo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B79CE-795C-7447-808B-6D3AFF0B4A10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3755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int-to-point --&gt; Hub and spo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B79CE-795C-7447-808B-6D3AFF0B4A10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73540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int-to-point --&gt; Hub and spo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B79CE-795C-7447-808B-6D3AFF0B4A1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03173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int-to-point --&gt; Hub and spo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B79CE-795C-7447-808B-6D3AFF0B4A10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7563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int-to-point --&gt; Hub and spo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B79CE-795C-7447-808B-6D3AFF0B4A10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1151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int-to-point --&gt; Hub and spo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B79CE-795C-7447-808B-6D3AFF0B4A10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8905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if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8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9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0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8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9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0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453184E-21E7-418F-A1EC-A49E8D1E2D3B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85056" y="0"/>
            <a:ext cx="6060731" cy="51435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15633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1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13F43FA-A88D-45CF-A998-B7633C7E9A49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736461" y="2919562"/>
            <a:ext cx="3915510" cy="1944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4920430" y="2919562"/>
            <a:ext cx="3915510" cy="1944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736461" y="1299563"/>
            <a:ext cx="3915510" cy="135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4920430" y="1299563"/>
            <a:ext cx="3915510" cy="135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98958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1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36462" y="136454"/>
            <a:ext cx="8099899" cy="64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DB8775-8226-4E8C-BBBC-5A871E3E17A7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70421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735307" y="789385"/>
            <a:ext cx="8101054" cy="4074178"/>
          </a:xfrm>
        </p:spPr>
        <p:txBody>
          <a:bodyPr bIns="0" anchor="ctr"/>
          <a:lstStyle>
            <a:lvl1pPr marL="0" indent="0" algn="l">
              <a:buNone/>
              <a:defRPr sz="4950">
                <a:solidFill>
                  <a:schemeClr val="tx2"/>
                </a:solidFill>
              </a:defRPr>
            </a:lvl1pPr>
            <a:lvl2pPr marL="0" indent="0" algn="l">
              <a:buNone/>
              <a:defRPr sz="4950">
                <a:solidFill>
                  <a:schemeClr val="tx2"/>
                </a:solidFill>
              </a:defRPr>
            </a:lvl2pPr>
            <a:lvl3pPr marL="0" indent="0" algn="l">
              <a:buNone/>
              <a:defRPr sz="4950">
                <a:solidFill>
                  <a:schemeClr val="tx2"/>
                </a:solidFill>
              </a:defRPr>
            </a:lvl3pPr>
            <a:lvl4pPr marL="0" indent="0" algn="l">
              <a:buNone/>
              <a:defRPr sz="4950">
                <a:solidFill>
                  <a:schemeClr val="tx2"/>
                </a:solidFill>
              </a:defRPr>
            </a:lvl4pPr>
            <a:lvl5pPr marL="0" indent="0" algn="l">
              <a:buNone/>
              <a:defRPr sz="4950">
                <a:solidFill>
                  <a:schemeClr val="tx2"/>
                </a:solidFill>
              </a:defRPr>
            </a:lvl5pPr>
            <a:lvl6pPr marL="0" indent="0" algn="l">
              <a:buNone/>
              <a:defRPr sz="4950">
                <a:solidFill>
                  <a:schemeClr val="tx2"/>
                </a:solidFill>
              </a:defRPr>
            </a:lvl6pPr>
            <a:lvl7pPr marL="0" indent="0" algn="l">
              <a:buNone/>
              <a:defRPr sz="4950">
                <a:solidFill>
                  <a:schemeClr val="tx2"/>
                </a:solidFill>
              </a:defRPr>
            </a:lvl7pPr>
            <a:lvl8pPr marL="0" indent="0" algn="l">
              <a:buNone/>
              <a:defRPr sz="4950">
                <a:solidFill>
                  <a:schemeClr val="tx2"/>
                </a:solidFill>
              </a:defRPr>
            </a:lvl8pPr>
            <a:lvl9pPr marL="0" indent="0" algn="l">
              <a:buNone/>
              <a:defRPr sz="495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096B027-38B9-43F7-A592-83EA0A775820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516505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4F30451-A35E-4E06-ABE9-57892F294C45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9144000" cy="51435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57904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6149396" cy="5157788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531683" y="1299317"/>
            <a:ext cx="4036649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3BDA798-F8E0-4709-A972-C462B33FAF2F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3" y="1818711"/>
            <a:ext cx="4036649" cy="1215000"/>
          </a:xfrm>
        </p:spPr>
        <p:txBody>
          <a:bodyPr anchor="t"/>
          <a:lstStyle>
            <a:lvl1pPr>
              <a:defRPr sz="405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060937" y="3196613"/>
            <a:ext cx="2700351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51435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3834000" y="0"/>
            <a:ext cx="2204435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821669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6149396" cy="5157788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531685" y="1299568"/>
            <a:ext cx="4036647" cy="444463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8FB917D-8BDA-4646-85F0-B3EB7EC9AA4C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4" y="1818711"/>
            <a:ext cx="4036649" cy="1215000"/>
          </a:xfrm>
        </p:spPr>
        <p:txBody>
          <a:bodyPr anchor="t"/>
          <a:lstStyle>
            <a:lvl1pPr>
              <a:defRPr sz="405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060937" y="3196613"/>
            <a:ext cx="2700351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51435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3834000" y="0"/>
            <a:ext cx="2204435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081278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6149396" cy="5157788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531684" y="1299568"/>
            <a:ext cx="4036647" cy="444463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3C03279-9369-4B60-857C-CA23090BD5EE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4" y="1818711"/>
            <a:ext cx="4036649" cy="1215000"/>
          </a:xfrm>
        </p:spPr>
        <p:txBody>
          <a:bodyPr anchor="t"/>
          <a:lstStyle>
            <a:lvl1pPr>
              <a:defRPr sz="405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060937" y="3196613"/>
            <a:ext cx="2700351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51435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3834000" y="0"/>
            <a:ext cx="2204435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833432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7C2840-BFC1-453D-B379-5AD544CD1512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BEC00A-2D48-4013-B391-8772109AC8D8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D2C6F70-E75D-475F-B419-269CCB1A79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3085055" y="0"/>
            <a:ext cx="2988919" cy="51435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9BAE79B-A563-4FC7-B9F7-A23D4B7F095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105077" y="0"/>
            <a:ext cx="2996894" cy="51435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F2288D79-07BA-4239-B9FD-72BB7BF32D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190166" y="0"/>
            <a:ext cx="1955620" cy="484794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A56B1E33-75AC-4D5C-833A-CA5C8008C847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AFC5990D-0BBE-4F16-8156-3BC1019B8FD3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7142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7B81ACC-194C-4138-87A4-0FE22490C9A1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0F45FFE-96B1-40C5-A292-0CA94D34D065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1B2855E-6374-4E16-B969-06FB4FD6A6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3085055" y="0"/>
            <a:ext cx="2988919" cy="51435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5279B28-8E9A-48EF-BBFA-EB5F09F244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105077" y="0"/>
            <a:ext cx="2996894" cy="51435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3DF0ABB8-43C5-486B-97C5-606C588213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190166" y="0"/>
            <a:ext cx="1955620" cy="484794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0465EA00-3EFA-4E02-9E94-4A0C46405631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0E4D9B70-294B-4EEF-9E60-A1B22BE16F42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890988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ED9FCB3-9B29-42A8-A735-DBF9B3C4108B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3058779" y="0"/>
            <a:ext cx="6087007" cy="51435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5958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CB09DE6-6C5C-466A-98EE-CF45D40F0870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85056" y="0"/>
            <a:ext cx="6060731" cy="51435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8654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5D11F-2ED3-E64D-AC37-BAD6FCDA3DCC}" type="datetimeFigureOut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647520"/>
            <a:ext cx="2133600" cy="273844"/>
          </a:xfrm>
        </p:spPr>
        <p:txBody>
          <a:bodyPr/>
          <a:lstStyle/>
          <a:p>
            <a:fld id="{5FB1301F-7859-E049-9915-7FE1BF682972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D4F91F-31F2-864F-980B-AE711CF222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477" y="102392"/>
            <a:ext cx="513021" cy="51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620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ctr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Introduction and Onboarding</a:t>
            </a:r>
            <a:br>
              <a:rPr lang="en-US" dirty="0"/>
            </a:br>
            <a:r>
              <a:rPr lang="en-US" dirty="0"/>
              <a:t>to the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453184E-21E7-418F-A1EC-A49E8D1E2D3B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Enterprise Datahu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85056" y="0"/>
            <a:ext cx="6060731" cy="51435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222679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1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dirty="0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6166E1B-5D18-476A-8C5F-E90A4ECE4845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736461" y="1299564"/>
            <a:ext cx="8099900" cy="3563999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059088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453184E-21E7-418F-A1EC-A49E8D1E2D3B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85056" y="0"/>
            <a:ext cx="6060731" cy="51435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68065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CB09DE6-6C5C-466A-98EE-CF45D40F0870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85056" y="0"/>
            <a:ext cx="6060731" cy="51435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3889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99CCC57-2F27-4712-AC15-A35FC57882C5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85056" y="0"/>
            <a:ext cx="6060731" cy="51435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742235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482767" y="302655"/>
            <a:ext cx="7218941" cy="648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1504199" y="1382790"/>
            <a:ext cx="3510457" cy="3480773"/>
          </a:xfrm>
        </p:spPr>
        <p:txBody>
          <a:bodyPr/>
          <a:lstStyle>
            <a:lvl1pPr marL="202500" indent="-202500">
              <a:spcBef>
                <a:spcPts val="1350"/>
              </a:spcBef>
              <a:spcAft>
                <a:spcPts val="0"/>
              </a:spcAft>
              <a:buFontTx/>
              <a:buBlip>
                <a:blip r:embed="rId3"/>
              </a:buBlip>
              <a:defRPr sz="1500"/>
            </a:lvl1pPr>
            <a:lvl2pPr marL="405000" indent="-202500">
              <a:spcBef>
                <a:spcPts val="450"/>
              </a:spcBef>
              <a:spcAft>
                <a:spcPts val="0"/>
              </a:spcAft>
              <a:buFontTx/>
              <a:buBlip>
                <a:blip r:embed="rId4"/>
              </a:buBlip>
              <a:defRPr sz="1500"/>
            </a:lvl2pPr>
            <a:lvl3pPr marL="607500" indent="-202500">
              <a:spcBef>
                <a:spcPts val="450"/>
              </a:spcBef>
              <a:spcAft>
                <a:spcPts val="0"/>
              </a:spcAft>
              <a:buFontTx/>
              <a:buBlip>
                <a:blip r:embed="rId5"/>
              </a:buBlip>
              <a:defRPr sz="1500"/>
            </a:lvl3pPr>
            <a:lvl4pPr marL="810000" indent="-202500">
              <a:spcBef>
                <a:spcPts val="450"/>
              </a:spcBef>
              <a:spcAft>
                <a:spcPts val="0"/>
              </a:spcAft>
              <a:buFontTx/>
              <a:buBlip>
                <a:blip r:embed="rId6"/>
              </a:buBlip>
              <a:defRPr sz="1500"/>
            </a:lvl4pPr>
            <a:lvl5pPr>
              <a:spcBef>
                <a:spcPts val="450"/>
              </a:spcBef>
              <a:spcAft>
                <a:spcPts val="0"/>
              </a:spcAft>
              <a:defRPr sz="1500"/>
            </a:lvl5pPr>
            <a:lvl6pPr>
              <a:spcBef>
                <a:spcPts val="450"/>
              </a:spcBef>
              <a:spcAft>
                <a:spcPts val="0"/>
              </a:spcAft>
              <a:defRPr sz="1500"/>
            </a:lvl6pPr>
            <a:lvl7pPr>
              <a:spcBef>
                <a:spcPts val="450"/>
              </a:spcBef>
              <a:spcAft>
                <a:spcPts val="0"/>
              </a:spcAft>
              <a:defRPr sz="1500"/>
            </a:lvl7pPr>
            <a:lvl8pPr>
              <a:spcBef>
                <a:spcPts val="450"/>
              </a:spcBef>
              <a:spcAft>
                <a:spcPts val="0"/>
              </a:spcAft>
              <a:defRPr sz="1500"/>
            </a:lvl8pPr>
            <a:lvl9pPr>
              <a:spcBef>
                <a:spcPts val="450"/>
              </a:spcBef>
              <a:spcAft>
                <a:spcPts val="0"/>
              </a:spcAft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EB53ADF-5111-40B8-BD25-E86AF4ED5048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731100" y="4963450"/>
            <a:ext cx="4283556" cy="81000"/>
          </a:xfrm>
        </p:spPr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46901" y="4963450"/>
            <a:ext cx="294283" cy="81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443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5853939" y="1"/>
            <a:ext cx="3290061" cy="51435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 dirty="0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807365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1"/>
            <a:ext cx="1578637" cy="51458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ACA9DDE-6CF4-4C99-A2B7-6AB362D7B47D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5135241" y="2298641"/>
            <a:ext cx="3375439" cy="540000"/>
          </a:xfrm>
        </p:spPr>
        <p:txBody>
          <a:bodyPr anchor="t"/>
          <a:lstStyle>
            <a:lvl1pPr marL="0" indent="0" algn="l">
              <a:buNone/>
              <a:defRPr sz="1800" b="1">
                <a:solidFill>
                  <a:schemeClr val="accent1"/>
                </a:solidFill>
              </a:defRPr>
            </a:lvl1pPr>
            <a:lvl2pPr marL="0" indent="0" algn="l">
              <a:buNone/>
              <a:defRPr sz="1800" b="1">
                <a:solidFill>
                  <a:schemeClr val="accent1"/>
                </a:solidFill>
              </a:defRPr>
            </a:lvl2pPr>
            <a:lvl3pPr marL="0" indent="0" algn="l">
              <a:buNone/>
              <a:defRPr sz="1800" b="1">
                <a:solidFill>
                  <a:schemeClr val="accent1"/>
                </a:solidFill>
              </a:defRPr>
            </a:lvl3pPr>
            <a:lvl4pPr marL="0" indent="0" algn="l">
              <a:buNone/>
              <a:defRPr sz="1800" b="1">
                <a:solidFill>
                  <a:schemeClr val="accent1"/>
                </a:solidFill>
              </a:defRPr>
            </a:lvl4pPr>
            <a:lvl5pPr marL="0" indent="0" algn="l">
              <a:buNone/>
              <a:defRPr sz="1800" b="1">
                <a:solidFill>
                  <a:schemeClr val="accent1"/>
                </a:solidFill>
              </a:defRPr>
            </a:lvl5pPr>
            <a:lvl6pPr marL="0" indent="0" algn="l">
              <a:buNone/>
              <a:defRPr sz="1800" b="1">
                <a:solidFill>
                  <a:schemeClr val="accent1"/>
                </a:solidFill>
              </a:defRPr>
            </a:lvl6pPr>
            <a:lvl7pPr marL="0" indent="0" algn="l">
              <a:buNone/>
              <a:defRPr sz="1800" b="1">
                <a:solidFill>
                  <a:schemeClr val="accent1"/>
                </a:solidFill>
              </a:defRPr>
            </a:lvl7pPr>
            <a:lvl8pPr marL="0" indent="0" algn="l">
              <a:buNone/>
              <a:defRPr sz="1800" b="1">
                <a:solidFill>
                  <a:schemeClr val="accent1"/>
                </a:solidFill>
              </a:defRPr>
            </a:lvl8pPr>
            <a:lvl9pPr marL="0" indent="0" algn="l">
              <a:buNone/>
              <a:defRPr sz="18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357639" y="1105427"/>
            <a:ext cx="3105404" cy="1080565"/>
          </a:xfrm>
        </p:spPr>
        <p:txBody>
          <a:bodyPr anchor="b"/>
          <a:lstStyle>
            <a:lvl1pPr algn="r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3533043" y="1"/>
            <a:ext cx="1945386" cy="51435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8294" y="463274"/>
            <a:ext cx="296475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83453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4305505" y="0"/>
            <a:ext cx="4838495" cy="51435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350" dirty="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350" dirty="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1578637" cy="5145286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5009443" y="2242000"/>
            <a:ext cx="3375439" cy="1080565"/>
          </a:xfrm>
        </p:spPr>
        <p:txBody>
          <a:bodyPr anchor="t"/>
          <a:lstStyle>
            <a:lvl1pPr algn="l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C4C773C-56E9-4938-AEBD-712BC038121E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426828" y="1600988"/>
            <a:ext cx="3375439" cy="540000"/>
          </a:xfrm>
        </p:spPr>
        <p:txBody>
          <a:bodyPr anchor="b"/>
          <a:lstStyle>
            <a:lvl1pPr marL="0" indent="0" algn="r">
              <a:buNone/>
              <a:defRPr sz="1800" b="1">
                <a:solidFill>
                  <a:schemeClr val="accent1"/>
                </a:solidFill>
              </a:defRPr>
            </a:lvl1pPr>
            <a:lvl2pPr marL="0" indent="0" algn="l">
              <a:buNone/>
              <a:defRPr sz="1800" b="1">
                <a:solidFill>
                  <a:schemeClr val="accent1"/>
                </a:solidFill>
              </a:defRPr>
            </a:lvl2pPr>
            <a:lvl3pPr marL="0" indent="0" algn="l">
              <a:buNone/>
              <a:defRPr sz="1800" b="1">
                <a:solidFill>
                  <a:schemeClr val="accent1"/>
                </a:solidFill>
              </a:defRPr>
            </a:lvl3pPr>
            <a:lvl4pPr marL="0" indent="0" algn="l">
              <a:buNone/>
              <a:defRPr sz="1800" b="1">
                <a:solidFill>
                  <a:schemeClr val="accent1"/>
                </a:solidFill>
              </a:defRPr>
            </a:lvl4pPr>
            <a:lvl5pPr marL="0" indent="0" algn="l">
              <a:buNone/>
              <a:defRPr sz="1800" b="1">
                <a:solidFill>
                  <a:schemeClr val="accent1"/>
                </a:solidFill>
              </a:defRPr>
            </a:lvl5pPr>
            <a:lvl6pPr marL="0" indent="0" algn="l">
              <a:buNone/>
              <a:defRPr sz="1800" b="1">
                <a:solidFill>
                  <a:schemeClr val="accent1"/>
                </a:solidFill>
              </a:defRPr>
            </a:lvl6pPr>
            <a:lvl7pPr marL="0" indent="0" algn="l">
              <a:buNone/>
              <a:defRPr sz="1800" b="1">
                <a:solidFill>
                  <a:schemeClr val="accent1"/>
                </a:solidFill>
              </a:defRPr>
            </a:lvl7pPr>
            <a:lvl8pPr marL="0" indent="0" algn="l">
              <a:buNone/>
              <a:defRPr sz="1800" b="1">
                <a:solidFill>
                  <a:schemeClr val="accent1"/>
                </a:solidFill>
              </a:defRPr>
            </a:lvl8pPr>
            <a:lvl9pPr marL="0" indent="0" algn="l">
              <a:buNone/>
              <a:defRPr sz="18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8294" y="463274"/>
            <a:ext cx="296475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4838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1578637" cy="5145286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3641232" y="1096619"/>
            <a:ext cx="3375439" cy="1080565"/>
          </a:xfrm>
        </p:spPr>
        <p:txBody>
          <a:bodyPr anchor="b"/>
          <a:lstStyle>
            <a:lvl1pPr algn="l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309FE29-4079-4042-82D4-30F65321BBEB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5292450" y="2298641"/>
            <a:ext cx="3375439" cy="540000"/>
          </a:xfrm>
        </p:spPr>
        <p:txBody>
          <a:bodyPr anchor="t"/>
          <a:lstStyle>
            <a:lvl1pPr marL="0" indent="0" algn="l"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569780" y="1"/>
            <a:ext cx="3112042" cy="51435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8294" y="463274"/>
            <a:ext cx="296475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530913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99CCC57-2F27-4712-AC15-A35FC57882C5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85056" y="0"/>
            <a:ext cx="6060731" cy="51435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3368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1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6166E1B-5D18-476A-8C5F-E90A4ECE4845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736461" y="1299564"/>
            <a:ext cx="8099900" cy="3563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783481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1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EDDFC53-89AB-4BE8-8EEE-3EC422BCF930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736461" y="1299563"/>
            <a:ext cx="3915510" cy="3564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4920343" y="1299563"/>
            <a:ext cx="3915510" cy="3564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61796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1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13F43FA-A88D-45CF-A998-B7633C7E9A49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736461" y="2919562"/>
            <a:ext cx="3915510" cy="1944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4920430" y="2919562"/>
            <a:ext cx="3915510" cy="1944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736461" y="1299563"/>
            <a:ext cx="3915510" cy="135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4920430" y="1299563"/>
            <a:ext cx="3915510" cy="135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782211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1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36462" y="136454"/>
            <a:ext cx="8099899" cy="64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DB8775-8226-4E8C-BBBC-5A871E3E17A7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935028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735307" y="789385"/>
            <a:ext cx="8101054" cy="4074178"/>
          </a:xfrm>
        </p:spPr>
        <p:txBody>
          <a:bodyPr bIns="0" anchor="ctr"/>
          <a:lstStyle>
            <a:lvl1pPr marL="0" indent="0" algn="l">
              <a:buNone/>
              <a:defRPr sz="4950">
                <a:solidFill>
                  <a:schemeClr val="tx2"/>
                </a:solidFill>
              </a:defRPr>
            </a:lvl1pPr>
            <a:lvl2pPr marL="0" indent="0" algn="l">
              <a:buNone/>
              <a:defRPr sz="4950">
                <a:solidFill>
                  <a:schemeClr val="tx2"/>
                </a:solidFill>
              </a:defRPr>
            </a:lvl2pPr>
            <a:lvl3pPr marL="0" indent="0" algn="l">
              <a:buNone/>
              <a:defRPr sz="4950">
                <a:solidFill>
                  <a:schemeClr val="tx2"/>
                </a:solidFill>
              </a:defRPr>
            </a:lvl3pPr>
            <a:lvl4pPr marL="0" indent="0" algn="l">
              <a:buNone/>
              <a:defRPr sz="4950">
                <a:solidFill>
                  <a:schemeClr val="tx2"/>
                </a:solidFill>
              </a:defRPr>
            </a:lvl4pPr>
            <a:lvl5pPr marL="0" indent="0" algn="l">
              <a:buNone/>
              <a:defRPr sz="4950">
                <a:solidFill>
                  <a:schemeClr val="tx2"/>
                </a:solidFill>
              </a:defRPr>
            </a:lvl5pPr>
            <a:lvl6pPr marL="0" indent="0" algn="l">
              <a:buNone/>
              <a:defRPr sz="4950">
                <a:solidFill>
                  <a:schemeClr val="tx2"/>
                </a:solidFill>
              </a:defRPr>
            </a:lvl6pPr>
            <a:lvl7pPr marL="0" indent="0" algn="l">
              <a:buNone/>
              <a:defRPr sz="4950">
                <a:solidFill>
                  <a:schemeClr val="tx2"/>
                </a:solidFill>
              </a:defRPr>
            </a:lvl7pPr>
            <a:lvl8pPr marL="0" indent="0" algn="l">
              <a:buNone/>
              <a:defRPr sz="4950">
                <a:solidFill>
                  <a:schemeClr val="tx2"/>
                </a:solidFill>
              </a:defRPr>
            </a:lvl8pPr>
            <a:lvl9pPr marL="0" indent="0" algn="l">
              <a:buNone/>
              <a:defRPr sz="495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096B027-38B9-43F7-A592-83EA0A775820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486461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4F30451-A35E-4E06-ABE9-57892F294C45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9144000" cy="51435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64418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6149396" cy="5157788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531683" y="1299317"/>
            <a:ext cx="4036649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3BDA798-F8E0-4709-A972-C462B33FAF2F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3" y="1818711"/>
            <a:ext cx="4036649" cy="1215000"/>
          </a:xfrm>
        </p:spPr>
        <p:txBody>
          <a:bodyPr anchor="t"/>
          <a:lstStyle>
            <a:lvl1pPr>
              <a:defRPr sz="405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060937" y="3196613"/>
            <a:ext cx="2700351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51435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3834000" y="0"/>
            <a:ext cx="2204435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898986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6149396" cy="5157788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531685" y="1299568"/>
            <a:ext cx="4036647" cy="444463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8FB917D-8BDA-4646-85F0-B3EB7EC9AA4C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4" y="1818711"/>
            <a:ext cx="4036649" cy="1215000"/>
          </a:xfrm>
        </p:spPr>
        <p:txBody>
          <a:bodyPr anchor="t"/>
          <a:lstStyle>
            <a:lvl1pPr>
              <a:defRPr sz="405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060937" y="3196613"/>
            <a:ext cx="2700351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51435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3834000" y="0"/>
            <a:ext cx="2204435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55787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6149396" cy="5157788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531684" y="1299568"/>
            <a:ext cx="4036647" cy="444463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3C03279-9369-4B60-857C-CA23090BD5EE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4" y="1818711"/>
            <a:ext cx="4036649" cy="1215000"/>
          </a:xfrm>
        </p:spPr>
        <p:txBody>
          <a:bodyPr anchor="t"/>
          <a:lstStyle>
            <a:lvl1pPr>
              <a:defRPr sz="405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060937" y="3196613"/>
            <a:ext cx="2700351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51435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3834000" y="0"/>
            <a:ext cx="2204435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73787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7C2840-BFC1-453D-B379-5AD544CD1512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BEC00A-2D48-4013-B391-8772109AC8D8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D2C6F70-E75D-475F-B419-269CCB1A79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3085055" y="0"/>
            <a:ext cx="2988919" cy="51435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9BAE79B-A563-4FC7-B9F7-A23D4B7F095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105077" y="0"/>
            <a:ext cx="2996894" cy="51435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F2288D79-07BA-4239-B9FD-72BB7BF32D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190166" y="0"/>
            <a:ext cx="1955620" cy="484794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A56B1E33-75AC-4D5C-833A-CA5C8008C847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AFC5990D-0BBE-4F16-8156-3BC1019B8FD3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292705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482767" y="302655"/>
            <a:ext cx="7218941" cy="648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1504199" y="1382790"/>
            <a:ext cx="3510457" cy="3480773"/>
          </a:xfrm>
        </p:spPr>
        <p:txBody>
          <a:bodyPr/>
          <a:lstStyle>
            <a:lvl1pPr marL="202500" indent="-202500">
              <a:spcBef>
                <a:spcPts val="1350"/>
              </a:spcBef>
              <a:spcAft>
                <a:spcPts val="0"/>
              </a:spcAft>
              <a:buFontTx/>
              <a:buBlip>
                <a:blip r:embed="rId3"/>
              </a:buBlip>
              <a:defRPr sz="1500"/>
            </a:lvl1pPr>
            <a:lvl2pPr marL="405000" indent="-202500">
              <a:spcBef>
                <a:spcPts val="450"/>
              </a:spcBef>
              <a:spcAft>
                <a:spcPts val="0"/>
              </a:spcAft>
              <a:buFontTx/>
              <a:buBlip>
                <a:blip r:embed="rId4"/>
              </a:buBlip>
              <a:defRPr sz="1500"/>
            </a:lvl2pPr>
            <a:lvl3pPr marL="607500" indent="-202500">
              <a:spcBef>
                <a:spcPts val="450"/>
              </a:spcBef>
              <a:spcAft>
                <a:spcPts val="0"/>
              </a:spcAft>
              <a:buFontTx/>
              <a:buBlip>
                <a:blip r:embed="rId5"/>
              </a:buBlip>
              <a:defRPr sz="1500"/>
            </a:lvl3pPr>
            <a:lvl4pPr marL="810000" indent="-202500">
              <a:spcBef>
                <a:spcPts val="450"/>
              </a:spcBef>
              <a:spcAft>
                <a:spcPts val="0"/>
              </a:spcAft>
              <a:buFontTx/>
              <a:buBlip>
                <a:blip r:embed="rId6"/>
              </a:buBlip>
              <a:defRPr sz="1500"/>
            </a:lvl4pPr>
            <a:lvl5pPr>
              <a:spcBef>
                <a:spcPts val="450"/>
              </a:spcBef>
              <a:spcAft>
                <a:spcPts val="0"/>
              </a:spcAft>
              <a:defRPr sz="1500"/>
            </a:lvl5pPr>
            <a:lvl6pPr>
              <a:spcBef>
                <a:spcPts val="450"/>
              </a:spcBef>
              <a:spcAft>
                <a:spcPts val="0"/>
              </a:spcAft>
              <a:defRPr sz="1500"/>
            </a:lvl6pPr>
            <a:lvl7pPr>
              <a:spcBef>
                <a:spcPts val="450"/>
              </a:spcBef>
              <a:spcAft>
                <a:spcPts val="0"/>
              </a:spcAft>
              <a:defRPr sz="1500"/>
            </a:lvl7pPr>
            <a:lvl8pPr>
              <a:spcBef>
                <a:spcPts val="450"/>
              </a:spcBef>
              <a:spcAft>
                <a:spcPts val="0"/>
              </a:spcAft>
              <a:defRPr sz="1500"/>
            </a:lvl8pPr>
            <a:lvl9pPr>
              <a:spcBef>
                <a:spcPts val="450"/>
              </a:spcBef>
              <a:spcAft>
                <a:spcPts val="0"/>
              </a:spcAft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EB53ADF-5111-40B8-BD25-E86AF4ED5048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731100" y="4963450"/>
            <a:ext cx="4283556" cy="81000"/>
          </a:xfrm>
        </p:spPr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46901" y="4963450"/>
            <a:ext cx="294283" cy="81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443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5853939" y="1"/>
            <a:ext cx="3290061" cy="51435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 dirty="0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855579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7B81ACC-194C-4138-87A4-0FE22490C9A1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0F45FFE-96B1-40C5-A292-0CA94D34D065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1B2855E-6374-4E16-B969-06FB4FD6A6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3085055" y="0"/>
            <a:ext cx="2988919" cy="51435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5279B28-8E9A-48EF-BBFA-EB5F09F244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105077" y="0"/>
            <a:ext cx="2996894" cy="51435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3DF0ABB8-43C5-486B-97C5-606C588213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190166" y="0"/>
            <a:ext cx="1955620" cy="484794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0465EA00-3EFA-4E02-9E94-4A0C46405631}"/>
              </a:ext>
            </a:extLst>
          </p:cNvPr>
          <p:cNvSpPr/>
          <p:nvPr userDrawn="1"/>
        </p:nvSpPr>
        <p:spPr bwMode="gray">
          <a:xfrm>
            <a:off x="52187" y="1"/>
            <a:ext cx="149107" cy="99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0E4D9B70-294B-4EEF-9E60-A1B22BE16F42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5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253858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3" y="1299317"/>
            <a:ext cx="2715768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ED9FCB3-9B29-42A8-A735-DBF9B3C4108B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3058779" y="0"/>
            <a:ext cx="6087007" cy="51435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6" y="528638"/>
            <a:ext cx="54007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5449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4" y="1299317"/>
            <a:ext cx="2715767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03D92F8-304F-3D45-8657-0D2C0F9C6F8F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5" y="528638"/>
            <a:ext cx="540071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85057" y="0"/>
            <a:ext cx="6060731" cy="51435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6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0094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4" y="1299317"/>
            <a:ext cx="2715767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0D359D5-44F1-D542-A9D5-D6ED35BA10A0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5" y="528638"/>
            <a:ext cx="540071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85057" y="0"/>
            <a:ext cx="6060731" cy="51435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6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7759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4" y="1299317"/>
            <a:ext cx="2715767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7522D4F-4BE0-D247-8571-E92DFD8702A2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5" y="528638"/>
            <a:ext cx="540071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85057" y="0"/>
            <a:ext cx="6060731" cy="51435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6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11943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482767" y="302655"/>
            <a:ext cx="7218941" cy="64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1504199" y="1382790"/>
            <a:ext cx="3510457" cy="3480773"/>
          </a:xfrm>
        </p:spPr>
        <p:txBody>
          <a:bodyPr/>
          <a:lstStyle>
            <a:lvl1pPr marL="202500" indent="-202500">
              <a:spcBef>
                <a:spcPts val="1350"/>
              </a:spcBef>
              <a:spcAft>
                <a:spcPts val="0"/>
              </a:spcAft>
              <a:buFontTx/>
              <a:buBlip>
                <a:blip r:embed="rId3"/>
              </a:buBlip>
              <a:defRPr sz="1500"/>
            </a:lvl1pPr>
            <a:lvl2pPr marL="405000" indent="-202500">
              <a:spcBef>
                <a:spcPts val="450"/>
              </a:spcBef>
              <a:spcAft>
                <a:spcPts val="0"/>
              </a:spcAft>
              <a:buFontTx/>
              <a:buBlip>
                <a:blip r:embed="rId4"/>
              </a:buBlip>
              <a:defRPr sz="1500"/>
            </a:lvl2pPr>
            <a:lvl3pPr marL="607500" indent="-202500">
              <a:spcBef>
                <a:spcPts val="450"/>
              </a:spcBef>
              <a:spcAft>
                <a:spcPts val="0"/>
              </a:spcAft>
              <a:buFontTx/>
              <a:buBlip>
                <a:blip r:embed="rId5"/>
              </a:buBlip>
              <a:defRPr sz="1500"/>
            </a:lvl3pPr>
            <a:lvl4pPr marL="810000" indent="-202500">
              <a:spcBef>
                <a:spcPts val="450"/>
              </a:spcBef>
              <a:spcAft>
                <a:spcPts val="0"/>
              </a:spcAft>
              <a:buFontTx/>
              <a:buBlip>
                <a:blip r:embed="rId6"/>
              </a:buBlip>
              <a:defRPr sz="1500"/>
            </a:lvl4pPr>
            <a:lvl5pPr>
              <a:spcBef>
                <a:spcPts val="450"/>
              </a:spcBef>
              <a:spcAft>
                <a:spcPts val="0"/>
              </a:spcAft>
              <a:defRPr sz="1500"/>
            </a:lvl5pPr>
            <a:lvl6pPr>
              <a:spcBef>
                <a:spcPts val="450"/>
              </a:spcBef>
              <a:spcAft>
                <a:spcPts val="0"/>
              </a:spcAft>
              <a:defRPr sz="1500"/>
            </a:lvl6pPr>
            <a:lvl7pPr>
              <a:spcBef>
                <a:spcPts val="450"/>
              </a:spcBef>
              <a:spcAft>
                <a:spcPts val="0"/>
              </a:spcAft>
              <a:defRPr sz="1500"/>
            </a:lvl7pPr>
            <a:lvl8pPr>
              <a:spcBef>
                <a:spcPts val="450"/>
              </a:spcBef>
              <a:spcAft>
                <a:spcPts val="0"/>
              </a:spcAft>
              <a:defRPr sz="1500"/>
            </a:lvl8pPr>
            <a:lvl9pPr>
              <a:spcBef>
                <a:spcPts val="450"/>
              </a:spcBef>
              <a:spcAft>
                <a:spcPts val="0"/>
              </a:spcAft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FB0707B-BD48-BB49-8C44-0173ACDF68D6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731100" y="4963450"/>
            <a:ext cx="4283556" cy="81000"/>
          </a:xfrm>
        </p:spPr>
        <p:txBody>
          <a:bodyPr/>
          <a:lstStyle/>
          <a:p>
            <a:r>
              <a:rPr lang="en-US" dirty="0"/>
              <a:t>Metadata////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46902" y="4963450"/>
            <a:ext cx="294283" cy="81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442" y="528638"/>
            <a:ext cx="540071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5853939" y="1"/>
            <a:ext cx="3290061" cy="51435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 dirty="0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6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100015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1"/>
            <a:ext cx="1578637" cy="51458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0197112-4700-D146-A204-38B248E713AD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5135241" y="2298641"/>
            <a:ext cx="3375440" cy="540000"/>
          </a:xfrm>
        </p:spPr>
        <p:txBody>
          <a:bodyPr anchor="t"/>
          <a:lstStyle>
            <a:lvl1pPr marL="0" indent="0" algn="l">
              <a:buNone/>
              <a:defRPr sz="1800" b="1">
                <a:solidFill>
                  <a:schemeClr val="accent1"/>
                </a:solidFill>
              </a:defRPr>
            </a:lvl1pPr>
            <a:lvl2pPr marL="0" indent="0" algn="l">
              <a:buNone/>
              <a:defRPr sz="1800" b="1">
                <a:solidFill>
                  <a:schemeClr val="accent1"/>
                </a:solidFill>
              </a:defRPr>
            </a:lvl2pPr>
            <a:lvl3pPr marL="0" indent="0" algn="l">
              <a:buNone/>
              <a:defRPr sz="1800" b="1">
                <a:solidFill>
                  <a:schemeClr val="accent1"/>
                </a:solidFill>
              </a:defRPr>
            </a:lvl3pPr>
            <a:lvl4pPr marL="0" indent="0" algn="l">
              <a:buNone/>
              <a:defRPr sz="1800" b="1">
                <a:solidFill>
                  <a:schemeClr val="accent1"/>
                </a:solidFill>
              </a:defRPr>
            </a:lvl4pPr>
            <a:lvl5pPr marL="0" indent="0" algn="l">
              <a:buNone/>
              <a:defRPr sz="1800" b="1">
                <a:solidFill>
                  <a:schemeClr val="accent1"/>
                </a:solidFill>
              </a:defRPr>
            </a:lvl5pPr>
            <a:lvl6pPr marL="0" indent="0" algn="l">
              <a:buNone/>
              <a:defRPr sz="1800" b="1">
                <a:solidFill>
                  <a:schemeClr val="accent1"/>
                </a:solidFill>
              </a:defRPr>
            </a:lvl6pPr>
            <a:lvl7pPr marL="0" indent="0" algn="l">
              <a:buNone/>
              <a:defRPr sz="1800" b="1">
                <a:solidFill>
                  <a:schemeClr val="accent1"/>
                </a:solidFill>
              </a:defRPr>
            </a:lvl7pPr>
            <a:lvl8pPr marL="0" indent="0" algn="l">
              <a:buNone/>
              <a:defRPr sz="1800" b="1">
                <a:solidFill>
                  <a:schemeClr val="accent1"/>
                </a:solidFill>
              </a:defRPr>
            </a:lvl8pPr>
            <a:lvl9pPr marL="0" indent="0" algn="l">
              <a:buNone/>
              <a:defRPr sz="18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357639" y="1105428"/>
            <a:ext cx="3105404" cy="1080565"/>
          </a:xfrm>
        </p:spPr>
        <p:txBody>
          <a:bodyPr anchor="b"/>
          <a:lstStyle>
            <a:lvl1pPr algn="r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3533043" y="1"/>
            <a:ext cx="1945386" cy="51435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8295" y="463274"/>
            <a:ext cx="296474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32461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4305506" y="0"/>
            <a:ext cx="4838495" cy="51435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350" dirty="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350" dirty="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1"/>
            <a:ext cx="1578637" cy="5145286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5009442" y="2242001"/>
            <a:ext cx="3375440" cy="1080565"/>
          </a:xfrm>
        </p:spPr>
        <p:txBody>
          <a:bodyPr anchor="t"/>
          <a:lstStyle>
            <a:lvl1pPr algn="l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A13050F-F573-B042-95B2-D75CF0068859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426828" y="1600988"/>
            <a:ext cx="3375440" cy="540000"/>
          </a:xfrm>
        </p:spPr>
        <p:txBody>
          <a:bodyPr anchor="b"/>
          <a:lstStyle>
            <a:lvl1pPr marL="0" indent="0" algn="r">
              <a:buNone/>
              <a:defRPr sz="1800" b="1">
                <a:solidFill>
                  <a:schemeClr val="accent1"/>
                </a:solidFill>
              </a:defRPr>
            </a:lvl1pPr>
            <a:lvl2pPr marL="0" indent="0" algn="l">
              <a:buNone/>
              <a:defRPr sz="1800" b="1">
                <a:solidFill>
                  <a:schemeClr val="accent1"/>
                </a:solidFill>
              </a:defRPr>
            </a:lvl2pPr>
            <a:lvl3pPr marL="0" indent="0" algn="l">
              <a:buNone/>
              <a:defRPr sz="1800" b="1">
                <a:solidFill>
                  <a:schemeClr val="accent1"/>
                </a:solidFill>
              </a:defRPr>
            </a:lvl3pPr>
            <a:lvl4pPr marL="0" indent="0" algn="l">
              <a:buNone/>
              <a:defRPr sz="1800" b="1">
                <a:solidFill>
                  <a:schemeClr val="accent1"/>
                </a:solidFill>
              </a:defRPr>
            </a:lvl4pPr>
            <a:lvl5pPr marL="0" indent="0" algn="l">
              <a:buNone/>
              <a:defRPr sz="1800" b="1">
                <a:solidFill>
                  <a:schemeClr val="accent1"/>
                </a:solidFill>
              </a:defRPr>
            </a:lvl5pPr>
            <a:lvl6pPr marL="0" indent="0" algn="l">
              <a:buNone/>
              <a:defRPr sz="1800" b="1">
                <a:solidFill>
                  <a:schemeClr val="accent1"/>
                </a:solidFill>
              </a:defRPr>
            </a:lvl6pPr>
            <a:lvl7pPr marL="0" indent="0" algn="l">
              <a:buNone/>
              <a:defRPr sz="1800" b="1">
                <a:solidFill>
                  <a:schemeClr val="accent1"/>
                </a:solidFill>
              </a:defRPr>
            </a:lvl7pPr>
            <a:lvl8pPr marL="0" indent="0" algn="l">
              <a:buNone/>
              <a:defRPr sz="1800" b="1">
                <a:solidFill>
                  <a:schemeClr val="accent1"/>
                </a:solidFill>
              </a:defRPr>
            </a:lvl8pPr>
            <a:lvl9pPr marL="0" indent="0" algn="l">
              <a:buNone/>
              <a:defRPr sz="18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8295" y="463274"/>
            <a:ext cx="296474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0064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1"/>
            <a:ext cx="1578637" cy="5145286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3641232" y="1096620"/>
            <a:ext cx="3375440" cy="1080565"/>
          </a:xfrm>
        </p:spPr>
        <p:txBody>
          <a:bodyPr anchor="b"/>
          <a:lstStyle>
            <a:lvl1pPr algn="l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3C65D60-2B19-E24D-9999-93807D9029FE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5292449" y="2298641"/>
            <a:ext cx="3375440" cy="540000"/>
          </a:xfrm>
        </p:spPr>
        <p:txBody>
          <a:bodyPr anchor="t"/>
          <a:lstStyle>
            <a:lvl1pPr marL="0" indent="0" algn="l"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569781" y="1"/>
            <a:ext cx="3112042" cy="51435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8295" y="463274"/>
            <a:ext cx="296474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83327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2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6CFA9DF-FE1C-7B48-936C-81F6071884C3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8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736462" y="1299564"/>
            <a:ext cx="8099900" cy="3563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35637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1"/>
            <a:ext cx="1578637" cy="51458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ACA9DDE-6CF4-4C99-A2B7-6AB362D7B47D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5135241" y="2298641"/>
            <a:ext cx="3375439" cy="540000"/>
          </a:xfrm>
        </p:spPr>
        <p:txBody>
          <a:bodyPr anchor="t"/>
          <a:lstStyle>
            <a:lvl1pPr marL="0" indent="0" algn="l">
              <a:buNone/>
              <a:defRPr sz="1800" b="1">
                <a:solidFill>
                  <a:schemeClr val="accent1"/>
                </a:solidFill>
              </a:defRPr>
            </a:lvl1pPr>
            <a:lvl2pPr marL="0" indent="0" algn="l">
              <a:buNone/>
              <a:defRPr sz="1800" b="1">
                <a:solidFill>
                  <a:schemeClr val="accent1"/>
                </a:solidFill>
              </a:defRPr>
            </a:lvl2pPr>
            <a:lvl3pPr marL="0" indent="0" algn="l">
              <a:buNone/>
              <a:defRPr sz="1800" b="1">
                <a:solidFill>
                  <a:schemeClr val="accent1"/>
                </a:solidFill>
              </a:defRPr>
            </a:lvl3pPr>
            <a:lvl4pPr marL="0" indent="0" algn="l">
              <a:buNone/>
              <a:defRPr sz="1800" b="1">
                <a:solidFill>
                  <a:schemeClr val="accent1"/>
                </a:solidFill>
              </a:defRPr>
            </a:lvl4pPr>
            <a:lvl5pPr marL="0" indent="0" algn="l">
              <a:buNone/>
              <a:defRPr sz="1800" b="1">
                <a:solidFill>
                  <a:schemeClr val="accent1"/>
                </a:solidFill>
              </a:defRPr>
            </a:lvl5pPr>
            <a:lvl6pPr marL="0" indent="0" algn="l">
              <a:buNone/>
              <a:defRPr sz="1800" b="1">
                <a:solidFill>
                  <a:schemeClr val="accent1"/>
                </a:solidFill>
              </a:defRPr>
            </a:lvl6pPr>
            <a:lvl7pPr marL="0" indent="0" algn="l">
              <a:buNone/>
              <a:defRPr sz="1800" b="1">
                <a:solidFill>
                  <a:schemeClr val="accent1"/>
                </a:solidFill>
              </a:defRPr>
            </a:lvl7pPr>
            <a:lvl8pPr marL="0" indent="0" algn="l">
              <a:buNone/>
              <a:defRPr sz="1800" b="1">
                <a:solidFill>
                  <a:schemeClr val="accent1"/>
                </a:solidFill>
              </a:defRPr>
            </a:lvl8pPr>
            <a:lvl9pPr marL="0" indent="0" algn="l">
              <a:buNone/>
              <a:defRPr sz="18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357639" y="1105427"/>
            <a:ext cx="3105404" cy="1080565"/>
          </a:xfrm>
        </p:spPr>
        <p:txBody>
          <a:bodyPr anchor="b"/>
          <a:lstStyle>
            <a:lvl1pPr algn="r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3533043" y="1"/>
            <a:ext cx="1945386" cy="51435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8294" y="463274"/>
            <a:ext cx="296475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914318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2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836D154-22A3-C142-92A4-51E6E5927047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8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736461" y="1299563"/>
            <a:ext cx="3915510" cy="3564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4920343" y="1299563"/>
            <a:ext cx="3915510" cy="3564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78395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2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6DE321A-A86D-FE47-8B96-8D1E6940CB08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736461" y="2919563"/>
            <a:ext cx="3915510" cy="1944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4920430" y="2919563"/>
            <a:ext cx="3915510" cy="1944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736461" y="1299563"/>
            <a:ext cx="3915510" cy="135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4920430" y="1299563"/>
            <a:ext cx="3915510" cy="135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8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70174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2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36462" y="136454"/>
            <a:ext cx="8099900" cy="648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B2ACCE0-DA2F-284D-A9CD-5E5A0C027544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8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6936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735307" y="789385"/>
            <a:ext cx="8101055" cy="4074178"/>
          </a:xfrm>
        </p:spPr>
        <p:txBody>
          <a:bodyPr bIns="0" anchor="ctr"/>
          <a:lstStyle>
            <a:lvl1pPr marL="0" indent="0" algn="l">
              <a:buNone/>
              <a:defRPr sz="4950">
                <a:solidFill>
                  <a:schemeClr val="tx2"/>
                </a:solidFill>
              </a:defRPr>
            </a:lvl1pPr>
            <a:lvl2pPr marL="0" indent="0" algn="l">
              <a:buNone/>
              <a:defRPr sz="4950">
                <a:solidFill>
                  <a:schemeClr val="tx2"/>
                </a:solidFill>
              </a:defRPr>
            </a:lvl2pPr>
            <a:lvl3pPr marL="0" indent="0" algn="l">
              <a:buNone/>
              <a:defRPr sz="4950">
                <a:solidFill>
                  <a:schemeClr val="tx2"/>
                </a:solidFill>
              </a:defRPr>
            </a:lvl3pPr>
            <a:lvl4pPr marL="0" indent="0" algn="l">
              <a:buNone/>
              <a:defRPr sz="4950">
                <a:solidFill>
                  <a:schemeClr val="tx2"/>
                </a:solidFill>
              </a:defRPr>
            </a:lvl4pPr>
            <a:lvl5pPr marL="0" indent="0" algn="l">
              <a:buNone/>
              <a:defRPr sz="4950">
                <a:solidFill>
                  <a:schemeClr val="tx2"/>
                </a:solidFill>
              </a:defRPr>
            </a:lvl5pPr>
            <a:lvl6pPr marL="0" indent="0" algn="l">
              <a:buNone/>
              <a:defRPr sz="4950">
                <a:solidFill>
                  <a:schemeClr val="tx2"/>
                </a:solidFill>
              </a:defRPr>
            </a:lvl6pPr>
            <a:lvl7pPr marL="0" indent="0" algn="l">
              <a:buNone/>
              <a:defRPr sz="4950">
                <a:solidFill>
                  <a:schemeClr val="tx2"/>
                </a:solidFill>
              </a:defRPr>
            </a:lvl7pPr>
            <a:lvl8pPr marL="0" indent="0" algn="l">
              <a:buNone/>
              <a:defRPr sz="4950">
                <a:solidFill>
                  <a:schemeClr val="tx2"/>
                </a:solidFill>
              </a:defRPr>
            </a:lvl8pPr>
            <a:lvl9pPr marL="0" indent="0" algn="l">
              <a:buNone/>
              <a:defRPr sz="495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990E70E-A3F7-FA45-9FFC-7B5B34124D88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Metadata////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8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744211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74CE788-1B20-9A4C-B4E9-FB085E106489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9144000" cy="51435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1430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6149396" cy="5157788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531684" y="1299317"/>
            <a:ext cx="4036649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1391E04-80F8-4944-997B-D3EC4EDEEC1A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4" y="1818711"/>
            <a:ext cx="4036649" cy="1215000"/>
          </a:xfrm>
        </p:spPr>
        <p:txBody>
          <a:bodyPr anchor="t"/>
          <a:lstStyle>
            <a:lvl1pPr>
              <a:defRPr sz="405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060937" y="3196613"/>
            <a:ext cx="2700352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51435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325" y="528638"/>
            <a:ext cx="540071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3834000" y="0"/>
            <a:ext cx="2204435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6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561663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6149396" cy="5157788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531685" y="1299569"/>
            <a:ext cx="4036648" cy="444463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A1FF4F5-FC50-4342-BC93-8D426721B636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5" y="1818711"/>
            <a:ext cx="4036649" cy="1215000"/>
          </a:xfrm>
        </p:spPr>
        <p:txBody>
          <a:bodyPr anchor="t"/>
          <a:lstStyle>
            <a:lvl1pPr>
              <a:defRPr sz="405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060937" y="3196613"/>
            <a:ext cx="2700352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51435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325" y="528638"/>
            <a:ext cx="540071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3834000" y="0"/>
            <a:ext cx="2204435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6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0620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6149396" cy="5157788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531684" y="1299569"/>
            <a:ext cx="4036648" cy="444463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F341C9B-EAEB-214C-9C0C-1D14E9896F94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5" y="1818711"/>
            <a:ext cx="4036649" cy="1215000"/>
          </a:xfrm>
        </p:spPr>
        <p:txBody>
          <a:bodyPr anchor="t"/>
          <a:lstStyle>
            <a:lvl1pPr>
              <a:defRPr sz="405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060937" y="3196613"/>
            <a:ext cx="2700352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51435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325" y="528638"/>
            <a:ext cx="540071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3834000" y="0"/>
            <a:ext cx="2204435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6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42962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2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D5F0FE3-3BD8-F140-86A6-A8A392B5425E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735307" y="1299563"/>
            <a:ext cx="8101055" cy="356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8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571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Option 3 - Titles Only 1"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944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4305505" y="0"/>
            <a:ext cx="4838495" cy="51435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350" dirty="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350" dirty="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1578637" cy="5145286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5009443" y="2242000"/>
            <a:ext cx="3375439" cy="1080565"/>
          </a:xfrm>
        </p:spPr>
        <p:txBody>
          <a:bodyPr anchor="t"/>
          <a:lstStyle>
            <a:lvl1pPr algn="l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C4C773C-56E9-4938-AEBD-712BC038121E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426828" y="1600988"/>
            <a:ext cx="3375439" cy="540000"/>
          </a:xfrm>
        </p:spPr>
        <p:txBody>
          <a:bodyPr anchor="b"/>
          <a:lstStyle>
            <a:lvl1pPr marL="0" indent="0" algn="r">
              <a:buNone/>
              <a:defRPr sz="1800" b="1">
                <a:solidFill>
                  <a:schemeClr val="accent1"/>
                </a:solidFill>
              </a:defRPr>
            </a:lvl1pPr>
            <a:lvl2pPr marL="0" indent="0" algn="l">
              <a:buNone/>
              <a:defRPr sz="1800" b="1">
                <a:solidFill>
                  <a:schemeClr val="accent1"/>
                </a:solidFill>
              </a:defRPr>
            </a:lvl2pPr>
            <a:lvl3pPr marL="0" indent="0" algn="l">
              <a:buNone/>
              <a:defRPr sz="1800" b="1">
                <a:solidFill>
                  <a:schemeClr val="accent1"/>
                </a:solidFill>
              </a:defRPr>
            </a:lvl3pPr>
            <a:lvl4pPr marL="0" indent="0" algn="l">
              <a:buNone/>
              <a:defRPr sz="1800" b="1">
                <a:solidFill>
                  <a:schemeClr val="accent1"/>
                </a:solidFill>
              </a:defRPr>
            </a:lvl4pPr>
            <a:lvl5pPr marL="0" indent="0" algn="l">
              <a:buNone/>
              <a:defRPr sz="1800" b="1">
                <a:solidFill>
                  <a:schemeClr val="accent1"/>
                </a:solidFill>
              </a:defRPr>
            </a:lvl5pPr>
            <a:lvl6pPr marL="0" indent="0" algn="l">
              <a:buNone/>
              <a:defRPr sz="1800" b="1">
                <a:solidFill>
                  <a:schemeClr val="accent1"/>
                </a:solidFill>
              </a:defRPr>
            </a:lvl6pPr>
            <a:lvl7pPr marL="0" indent="0" algn="l">
              <a:buNone/>
              <a:defRPr sz="1800" b="1">
                <a:solidFill>
                  <a:schemeClr val="accent1"/>
                </a:solidFill>
              </a:defRPr>
            </a:lvl7pPr>
            <a:lvl8pPr marL="0" indent="0" algn="l">
              <a:buNone/>
              <a:defRPr sz="1800" b="1">
                <a:solidFill>
                  <a:schemeClr val="accent1"/>
                </a:solidFill>
              </a:defRPr>
            </a:lvl8pPr>
            <a:lvl9pPr marL="0" indent="0" algn="l">
              <a:buNone/>
              <a:defRPr sz="18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8294" y="463274"/>
            <a:ext cx="296475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683941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783365-952C-D446-B408-0395D64C3B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13EBE8C-9F6B-6049-8F39-57DBDAD8D1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48639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55F11-1B71-9249-B737-D2DAD7D03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82E987-BDC7-1A4C-A077-9F35437E2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5253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46335A-A287-C944-9108-66D889F0B4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6C4682-4420-214D-A48E-961650624B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9506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05EB8-8AF4-C644-96C2-19CD37088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33C956-60A9-8344-AA42-6E9F3D5230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2C5849-796C-264B-92C4-5171520C7D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5976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9F5E30-6D0E-2D44-8E36-B1BC01FDB4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8F5C57-281A-9649-928E-6D7EDC700C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8A65DE4-CD55-2548-B83E-9F0E636C92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C8F5FA-267F-984D-8772-803E402EAB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DF2D7F-517A-C946-A0FE-B7E40223927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9569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F8DF68-B478-614A-BFDF-3F5134669B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446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4169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C6DD60-3EE8-D943-8EE1-496DC81562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74615-1C70-784E-89A6-906955FAFD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C0210E-E37D-E840-A9DC-CEB60DC862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415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F3B39-7D66-4543-AC3A-7A7B56844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24E20F0-AC38-3D49-B194-B665F068B44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26FDA7-FE17-EE46-BADF-1326CB6E8F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4171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16DB35-8976-F046-BE29-FCB644867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FB93238-7EBB-B34B-940C-5A463A51D6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6384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1578637" cy="5145286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3641232" y="1096619"/>
            <a:ext cx="3375439" cy="1080565"/>
          </a:xfrm>
        </p:spPr>
        <p:txBody>
          <a:bodyPr anchor="b"/>
          <a:lstStyle>
            <a:lvl1pPr algn="l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309FE29-4079-4042-82D4-30F65321BBEB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5292450" y="2298641"/>
            <a:ext cx="3375439" cy="540000"/>
          </a:xfrm>
        </p:spPr>
        <p:txBody>
          <a:bodyPr anchor="t"/>
          <a:lstStyle>
            <a:lvl1pPr marL="0" indent="0" algn="l"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569780" y="1"/>
            <a:ext cx="3112042" cy="51435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8294" y="463274"/>
            <a:ext cx="296475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8422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75E17F9-6226-F04F-9CD9-B5A32CC0D0D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8024317-C059-B44B-8CD5-01BF5C21E2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8395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4" y="1299317"/>
            <a:ext cx="2715767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03D92F8-304F-3D45-8657-0D2C0F9C6F8F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5" y="528638"/>
            <a:ext cx="540071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85057" y="0"/>
            <a:ext cx="6060731" cy="51435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6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709108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4" y="1299317"/>
            <a:ext cx="2715767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0D359D5-44F1-D542-A9D5-D6ED35BA10A0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5" y="528638"/>
            <a:ext cx="540071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85057" y="0"/>
            <a:ext cx="6060731" cy="51435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6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633291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3056992" y="0"/>
            <a:ext cx="6087008" cy="51435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4" y="1299317"/>
            <a:ext cx="2715767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7522D4F-4BE0-D247-8571-E92DFD8702A2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1818711"/>
            <a:ext cx="2715621" cy="1080000"/>
          </a:xfrm>
        </p:spPr>
        <p:txBody>
          <a:bodyPr anchor="t"/>
          <a:lstStyle>
            <a:lvl1pPr>
              <a:defRPr sz="2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3196613"/>
            <a:ext cx="2186924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6325" y="528638"/>
            <a:ext cx="540071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85057" y="0"/>
            <a:ext cx="6060731" cy="51435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6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240647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482767" y="302655"/>
            <a:ext cx="7218941" cy="64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1504199" y="1382790"/>
            <a:ext cx="3510457" cy="3480773"/>
          </a:xfrm>
        </p:spPr>
        <p:txBody>
          <a:bodyPr/>
          <a:lstStyle>
            <a:lvl1pPr marL="202500" indent="-202500">
              <a:spcBef>
                <a:spcPts val="1350"/>
              </a:spcBef>
              <a:spcAft>
                <a:spcPts val="0"/>
              </a:spcAft>
              <a:buFontTx/>
              <a:buBlip>
                <a:blip r:embed="rId3"/>
              </a:buBlip>
              <a:defRPr sz="1500"/>
            </a:lvl1pPr>
            <a:lvl2pPr marL="405000" indent="-202500">
              <a:spcBef>
                <a:spcPts val="450"/>
              </a:spcBef>
              <a:spcAft>
                <a:spcPts val="0"/>
              </a:spcAft>
              <a:buFontTx/>
              <a:buBlip>
                <a:blip r:embed="rId4"/>
              </a:buBlip>
              <a:defRPr sz="1500"/>
            </a:lvl2pPr>
            <a:lvl3pPr marL="607500" indent="-202500">
              <a:spcBef>
                <a:spcPts val="450"/>
              </a:spcBef>
              <a:spcAft>
                <a:spcPts val="0"/>
              </a:spcAft>
              <a:buFontTx/>
              <a:buBlip>
                <a:blip r:embed="rId5"/>
              </a:buBlip>
              <a:defRPr sz="1500"/>
            </a:lvl3pPr>
            <a:lvl4pPr marL="810000" indent="-202500">
              <a:spcBef>
                <a:spcPts val="450"/>
              </a:spcBef>
              <a:spcAft>
                <a:spcPts val="0"/>
              </a:spcAft>
              <a:buFontTx/>
              <a:buBlip>
                <a:blip r:embed="rId6"/>
              </a:buBlip>
              <a:defRPr sz="1500"/>
            </a:lvl4pPr>
            <a:lvl5pPr>
              <a:spcBef>
                <a:spcPts val="450"/>
              </a:spcBef>
              <a:spcAft>
                <a:spcPts val="0"/>
              </a:spcAft>
              <a:defRPr sz="1500"/>
            </a:lvl5pPr>
            <a:lvl6pPr>
              <a:spcBef>
                <a:spcPts val="450"/>
              </a:spcBef>
              <a:spcAft>
                <a:spcPts val="0"/>
              </a:spcAft>
              <a:defRPr sz="1500"/>
            </a:lvl6pPr>
            <a:lvl7pPr>
              <a:spcBef>
                <a:spcPts val="450"/>
              </a:spcBef>
              <a:spcAft>
                <a:spcPts val="0"/>
              </a:spcAft>
              <a:defRPr sz="1500"/>
            </a:lvl7pPr>
            <a:lvl8pPr>
              <a:spcBef>
                <a:spcPts val="450"/>
              </a:spcBef>
              <a:spcAft>
                <a:spcPts val="0"/>
              </a:spcAft>
              <a:defRPr sz="1500"/>
            </a:lvl8pPr>
            <a:lvl9pPr>
              <a:spcBef>
                <a:spcPts val="450"/>
              </a:spcBef>
              <a:spcAft>
                <a:spcPts val="0"/>
              </a:spcAft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FB0707B-BD48-BB49-8C44-0173ACDF68D6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731100" y="4963450"/>
            <a:ext cx="4283556" cy="81000"/>
          </a:xfrm>
        </p:spPr>
        <p:txBody>
          <a:bodyPr/>
          <a:lstStyle/>
          <a:p>
            <a:r>
              <a:rPr lang="en-US" dirty="0"/>
              <a:t>Metadata////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46902" y="4963450"/>
            <a:ext cx="294283" cy="81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442" y="528638"/>
            <a:ext cx="540071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5853939" y="1"/>
            <a:ext cx="3290061" cy="51435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 dirty="0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6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623089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1"/>
            <a:ext cx="1578637" cy="51458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0197112-4700-D146-A204-38B248E713AD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5135241" y="2298641"/>
            <a:ext cx="3375440" cy="540000"/>
          </a:xfrm>
        </p:spPr>
        <p:txBody>
          <a:bodyPr anchor="t"/>
          <a:lstStyle>
            <a:lvl1pPr marL="0" indent="0" algn="l">
              <a:buNone/>
              <a:defRPr sz="1800" b="1">
                <a:solidFill>
                  <a:schemeClr val="accent1"/>
                </a:solidFill>
              </a:defRPr>
            </a:lvl1pPr>
            <a:lvl2pPr marL="0" indent="0" algn="l">
              <a:buNone/>
              <a:defRPr sz="1800" b="1">
                <a:solidFill>
                  <a:schemeClr val="accent1"/>
                </a:solidFill>
              </a:defRPr>
            </a:lvl2pPr>
            <a:lvl3pPr marL="0" indent="0" algn="l">
              <a:buNone/>
              <a:defRPr sz="1800" b="1">
                <a:solidFill>
                  <a:schemeClr val="accent1"/>
                </a:solidFill>
              </a:defRPr>
            </a:lvl3pPr>
            <a:lvl4pPr marL="0" indent="0" algn="l">
              <a:buNone/>
              <a:defRPr sz="1800" b="1">
                <a:solidFill>
                  <a:schemeClr val="accent1"/>
                </a:solidFill>
              </a:defRPr>
            </a:lvl4pPr>
            <a:lvl5pPr marL="0" indent="0" algn="l">
              <a:buNone/>
              <a:defRPr sz="1800" b="1">
                <a:solidFill>
                  <a:schemeClr val="accent1"/>
                </a:solidFill>
              </a:defRPr>
            </a:lvl5pPr>
            <a:lvl6pPr marL="0" indent="0" algn="l">
              <a:buNone/>
              <a:defRPr sz="1800" b="1">
                <a:solidFill>
                  <a:schemeClr val="accent1"/>
                </a:solidFill>
              </a:defRPr>
            </a:lvl6pPr>
            <a:lvl7pPr marL="0" indent="0" algn="l">
              <a:buNone/>
              <a:defRPr sz="1800" b="1">
                <a:solidFill>
                  <a:schemeClr val="accent1"/>
                </a:solidFill>
              </a:defRPr>
            </a:lvl7pPr>
            <a:lvl8pPr marL="0" indent="0" algn="l">
              <a:buNone/>
              <a:defRPr sz="1800" b="1">
                <a:solidFill>
                  <a:schemeClr val="accent1"/>
                </a:solidFill>
              </a:defRPr>
            </a:lvl8pPr>
            <a:lvl9pPr marL="0" indent="0" algn="l">
              <a:buNone/>
              <a:defRPr sz="18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357639" y="1105428"/>
            <a:ext cx="3105404" cy="1080565"/>
          </a:xfrm>
        </p:spPr>
        <p:txBody>
          <a:bodyPr anchor="b"/>
          <a:lstStyle>
            <a:lvl1pPr algn="r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3533043" y="1"/>
            <a:ext cx="1945386" cy="51435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8295" y="463274"/>
            <a:ext cx="296474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47535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4305506" y="0"/>
            <a:ext cx="4838495" cy="51435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350" dirty="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350" dirty="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1"/>
            <a:ext cx="1578637" cy="5145286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5009442" y="2242001"/>
            <a:ext cx="3375440" cy="1080565"/>
          </a:xfrm>
        </p:spPr>
        <p:txBody>
          <a:bodyPr anchor="t"/>
          <a:lstStyle>
            <a:lvl1pPr algn="l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A13050F-F573-B042-95B2-D75CF0068859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426828" y="1600988"/>
            <a:ext cx="3375440" cy="540000"/>
          </a:xfrm>
        </p:spPr>
        <p:txBody>
          <a:bodyPr anchor="b"/>
          <a:lstStyle>
            <a:lvl1pPr marL="0" indent="0" algn="r">
              <a:buNone/>
              <a:defRPr sz="1800" b="1">
                <a:solidFill>
                  <a:schemeClr val="accent1"/>
                </a:solidFill>
              </a:defRPr>
            </a:lvl1pPr>
            <a:lvl2pPr marL="0" indent="0" algn="l">
              <a:buNone/>
              <a:defRPr sz="1800" b="1">
                <a:solidFill>
                  <a:schemeClr val="accent1"/>
                </a:solidFill>
              </a:defRPr>
            </a:lvl2pPr>
            <a:lvl3pPr marL="0" indent="0" algn="l">
              <a:buNone/>
              <a:defRPr sz="1800" b="1">
                <a:solidFill>
                  <a:schemeClr val="accent1"/>
                </a:solidFill>
              </a:defRPr>
            </a:lvl3pPr>
            <a:lvl4pPr marL="0" indent="0" algn="l">
              <a:buNone/>
              <a:defRPr sz="1800" b="1">
                <a:solidFill>
                  <a:schemeClr val="accent1"/>
                </a:solidFill>
              </a:defRPr>
            </a:lvl4pPr>
            <a:lvl5pPr marL="0" indent="0" algn="l">
              <a:buNone/>
              <a:defRPr sz="1800" b="1">
                <a:solidFill>
                  <a:schemeClr val="accent1"/>
                </a:solidFill>
              </a:defRPr>
            </a:lvl5pPr>
            <a:lvl6pPr marL="0" indent="0" algn="l">
              <a:buNone/>
              <a:defRPr sz="1800" b="1">
                <a:solidFill>
                  <a:schemeClr val="accent1"/>
                </a:solidFill>
              </a:defRPr>
            </a:lvl6pPr>
            <a:lvl7pPr marL="0" indent="0" algn="l">
              <a:buNone/>
              <a:defRPr sz="1800" b="1">
                <a:solidFill>
                  <a:schemeClr val="accent1"/>
                </a:solidFill>
              </a:defRPr>
            </a:lvl7pPr>
            <a:lvl8pPr marL="0" indent="0" algn="l">
              <a:buNone/>
              <a:defRPr sz="1800" b="1">
                <a:solidFill>
                  <a:schemeClr val="accent1"/>
                </a:solidFill>
              </a:defRPr>
            </a:lvl8pPr>
            <a:lvl9pPr marL="0" indent="0" algn="l">
              <a:buNone/>
              <a:defRPr sz="18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8295" y="463274"/>
            <a:ext cx="296474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727826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1"/>
            <a:ext cx="1578637" cy="5145286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3641232" y="1096620"/>
            <a:ext cx="3375440" cy="1080565"/>
          </a:xfrm>
        </p:spPr>
        <p:txBody>
          <a:bodyPr anchor="b"/>
          <a:lstStyle>
            <a:lvl1pPr algn="l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3C65D60-2B19-E24D-9999-93807D9029FE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5292449" y="2298641"/>
            <a:ext cx="3375440" cy="540000"/>
          </a:xfrm>
        </p:spPr>
        <p:txBody>
          <a:bodyPr anchor="t"/>
          <a:lstStyle>
            <a:lvl1pPr marL="0" indent="0" algn="l"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569781" y="1"/>
            <a:ext cx="3112042" cy="51435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8295" y="463274"/>
            <a:ext cx="296474" cy="296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4749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2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6CFA9DF-FE1C-7B48-936C-81F6071884C3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8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736462" y="1299564"/>
            <a:ext cx="8099900" cy="3563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41508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2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836D154-22A3-C142-92A4-51E6E5927047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8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736461" y="1299563"/>
            <a:ext cx="3915510" cy="3564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4920343" y="1299563"/>
            <a:ext cx="3915510" cy="3564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455600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1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6166E1B-5D18-476A-8C5F-E90A4ECE4845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736461" y="1299564"/>
            <a:ext cx="8099900" cy="3563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506884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2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6DE321A-A86D-FE47-8B96-8D1E6940CB08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736461" y="2919563"/>
            <a:ext cx="3915510" cy="1944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4920430" y="2919563"/>
            <a:ext cx="3915510" cy="1944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736461" y="1299563"/>
            <a:ext cx="3915510" cy="135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4920430" y="1299563"/>
            <a:ext cx="3915510" cy="135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8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663696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2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36462" y="136454"/>
            <a:ext cx="8099900" cy="648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B2ACCE0-DA2F-284D-A9CD-5E5A0C027544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8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290464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735307" y="789385"/>
            <a:ext cx="8101055" cy="4074178"/>
          </a:xfrm>
        </p:spPr>
        <p:txBody>
          <a:bodyPr bIns="0" anchor="ctr"/>
          <a:lstStyle>
            <a:lvl1pPr marL="0" indent="0" algn="l">
              <a:buNone/>
              <a:defRPr sz="4950">
                <a:solidFill>
                  <a:schemeClr val="tx2"/>
                </a:solidFill>
              </a:defRPr>
            </a:lvl1pPr>
            <a:lvl2pPr marL="0" indent="0" algn="l">
              <a:buNone/>
              <a:defRPr sz="4950">
                <a:solidFill>
                  <a:schemeClr val="tx2"/>
                </a:solidFill>
              </a:defRPr>
            </a:lvl2pPr>
            <a:lvl3pPr marL="0" indent="0" algn="l">
              <a:buNone/>
              <a:defRPr sz="4950">
                <a:solidFill>
                  <a:schemeClr val="tx2"/>
                </a:solidFill>
              </a:defRPr>
            </a:lvl3pPr>
            <a:lvl4pPr marL="0" indent="0" algn="l">
              <a:buNone/>
              <a:defRPr sz="4950">
                <a:solidFill>
                  <a:schemeClr val="tx2"/>
                </a:solidFill>
              </a:defRPr>
            </a:lvl4pPr>
            <a:lvl5pPr marL="0" indent="0" algn="l">
              <a:buNone/>
              <a:defRPr sz="4950">
                <a:solidFill>
                  <a:schemeClr val="tx2"/>
                </a:solidFill>
              </a:defRPr>
            </a:lvl5pPr>
            <a:lvl6pPr marL="0" indent="0" algn="l">
              <a:buNone/>
              <a:defRPr sz="4950">
                <a:solidFill>
                  <a:schemeClr val="tx2"/>
                </a:solidFill>
              </a:defRPr>
            </a:lvl6pPr>
            <a:lvl7pPr marL="0" indent="0" algn="l">
              <a:buNone/>
              <a:defRPr sz="4950">
                <a:solidFill>
                  <a:schemeClr val="tx2"/>
                </a:solidFill>
              </a:defRPr>
            </a:lvl7pPr>
            <a:lvl8pPr marL="0" indent="0" algn="l">
              <a:buNone/>
              <a:defRPr sz="4950">
                <a:solidFill>
                  <a:schemeClr val="tx2"/>
                </a:solidFill>
              </a:defRPr>
            </a:lvl8pPr>
            <a:lvl9pPr marL="0" indent="0" algn="l">
              <a:buNone/>
              <a:defRPr sz="495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990E70E-A3F7-FA45-9FFC-7B5B34124D88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Metadata////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8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935553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74CE788-1B20-9A4C-B4E9-FB085E106489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9144000" cy="51435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29790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6149396" cy="5157788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531684" y="1299317"/>
            <a:ext cx="4036649" cy="444714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1391E04-80F8-4944-997B-D3EC4EDEEC1A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4" y="1818711"/>
            <a:ext cx="4036649" cy="1215000"/>
          </a:xfrm>
        </p:spPr>
        <p:txBody>
          <a:bodyPr anchor="t"/>
          <a:lstStyle>
            <a:lvl1pPr>
              <a:defRPr sz="405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060937" y="3196613"/>
            <a:ext cx="2700352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51435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325" y="528638"/>
            <a:ext cx="540071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3834000" y="0"/>
            <a:ext cx="2204435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6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555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6149396" cy="5157788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531685" y="1299569"/>
            <a:ext cx="4036648" cy="444463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A1FF4F5-FC50-4342-BC93-8D426721B636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5" y="1818711"/>
            <a:ext cx="4036649" cy="1215000"/>
          </a:xfrm>
        </p:spPr>
        <p:txBody>
          <a:bodyPr anchor="t"/>
          <a:lstStyle>
            <a:lvl1pPr>
              <a:defRPr sz="405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060937" y="3196613"/>
            <a:ext cx="2700352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51435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325" y="528638"/>
            <a:ext cx="540071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3834000" y="0"/>
            <a:ext cx="2204435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6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20255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6149396" cy="5157788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531684" y="1299569"/>
            <a:ext cx="4036648" cy="444463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F341C9B-EAEB-214C-9C0C-1D14E9896F94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5" y="1818711"/>
            <a:ext cx="4036649" cy="1215000"/>
          </a:xfrm>
        </p:spPr>
        <p:txBody>
          <a:bodyPr anchor="t"/>
          <a:lstStyle>
            <a:lvl1pPr>
              <a:defRPr sz="405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7" y="3030801"/>
            <a:ext cx="360671" cy="13479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060937" y="3196613"/>
            <a:ext cx="2700352" cy="81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51435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6325" y="528638"/>
            <a:ext cx="540071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3834000" y="0"/>
            <a:ext cx="2204435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391425" y="393638"/>
            <a:ext cx="810106" cy="81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35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81672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2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D5F0FE3-3BD8-F140-86A6-A8A392B5425E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735307" y="1299563"/>
            <a:ext cx="8101055" cy="356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8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5986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Option 3 - Titles Only 1"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6178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1" y="853724"/>
            <a:ext cx="8099900" cy="189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EDDFC53-89AB-4BE8-8EEE-3EC422BCF930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7097" y="462866"/>
            <a:ext cx="299739" cy="29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736461" y="1299563"/>
            <a:ext cx="3915510" cy="3564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4920343" y="1299563"/>
            <a:ext cx="3915510" cy="3564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381992"/>
            <a:ext cx="459060" cy="459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23989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21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tags" Target="../tags/tag39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51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7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tags" Target="../tags/tag55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80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35307" y="1299563"/>
            <a:ext cx="8101054" cy="35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736462" y="136454"/>
            <a:ext cx="8099899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342009" y="4963450"/>
            <a:ext cx="366760" cy="8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525">
                <a:noFill/>
              </a:defRPr>
            </a:lvl1pPr>
            <a:lvl2pPr marL="1191" indent="0" algn="r">
              <a:defRPr sz="525">
                <a:noFill/>
              </a:defRPr>
            </a:lvl2pPr>
            <a:lvl3pPr marL="0" indent="0" algn="r">
              <a:defRPr sz="525">
                <a:noFill/>
              </a:defRPr>
            </a:lvl3pPr>
            <a:lvl4pPr marL="0" indent="0" algn="r">
              <a:tabLst/>
              <a:defRPr sz="525">
                <a:noFill/>
              </a:defRPr>
            </a:lvl4pPr>
            <a:lvl5pPr marL="0" indent="0" algn="r">
              <a:defRPr sz="525">
                <a:noFill/>
              </a:defRPr>
            </a:lvl5pPr>
            <a:lvl6pPr marL="0" indent="0" algn="r">
              <a:defRPr sz="525">
                <a:noFill/>
              </a:defRPr>
            </a:lvl6pPr>
            <a:lvl7pPr marL="0" indent="0" algn="r">
              <a:defRPr sz="525">
                <a:noFill/>
              </a:defRPr>
            </a:lvl7pPr>
            <a:lvl8pPr marL="0" indent="0" algn="r">
              <a:defRPr sz="525">
                <a:noFill/>
              </a:defRPr>
            </a:lvl8pPr>
            <a:lvl9pPr marL="0" indent="0" algn="r">
              <a:defRPr sz="525">
                <a:noFill/>
              </a:defRPr>
            </a:lvl9pPr>
          </a:lstStyle>
          <a:p>
            <a:fld id="{67D9247B-7051-4DBD-8540-3BFDAC611952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31099" y="4963450"/>
            <a:ext cx="6480844" cy="8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525">
                <a:solidFill>
                  <a:schemeClr val="accent1"/>
                </a:solidFill>
              </a:defRPr>
            </a:lvl1pPr>
            <a:lvl2pPr marL="0" indent="0">
              <a:defRPr sz="525">
                <a:solidFill>
                  <a:schemeClr val="accent1"/>
                </a:solidFill>
              </a:defRPr>
            </a:lvl2pPr>
            <a:lvl3pPr marL="0" indent="0">
              <a:defRPr sz="525">
                <a:solidFill>
                  <a:schemeClr val="accent1"/>
                </a:solidFill>
              </a:defRPr>
            </a:lvl3pPr>
            <a:lvl4pPr marL="0" indent="0">
              <a:defRPr sz="525">
                <a:solidFill>
                  <a:schemeClr val="accent1"/>
                </a:solidFill>
              </a:defRPr>
            </a:lvl4pPr>
            <a:lvl5pPr marL="0" indent="0">
              <a:defRPr sz="525">
                <a:solidFill>
                  <a:schemeClr val="accent1"/>
                </a:solidFill>
              </a:defRPr>
            </a:lvl5pPr>
            <a:lvl6pPr marL="0" indent="0">
              <a:tabLst/>
              <a:defRPr sz="525">
                <a:solidFill>
                  <a:schemeClr val="accent1"/>
                </a:solidFill>
              </a:defRPr>
            </a:lvl6pPr>
            <a:lvl7pPr marL="0" indent="0">
              <a:tabLst/>
              <a:defRPr sz="525">
                <a:solidFill>
                  <a:schemeClr val="accent1"/>
                </a:solidFill>
              </a:defRPr>
            </a:lvl7pPr>
            <a:lvl8pPr marL="0" indent="0">
              <a:defRPr sz="525">
                <a:solidFill>
                  <a:schemeClr val="accent1"/>
                </a:solidFill>
              </a:defRPr>
            </a:lvl8pPr>
            <a:lvl9pPr marL="0" indent="0">
              <a:defRPr sz="525">
                <a:solidFill>
                  <a:schemeClr val="accent1"/>
                </a:solidFill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46901" y="4963450"/>
            <a:ext cx="294283" cy="8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525">
                <a:solidFill>
                  <a:schemeClr val="accent2"/>
                </a:solidFill>
              </a:defRPr>
            </a:lvl1pPr>
            <a:lvl2pPr marL="0" indent="0" algn="ctr">
              <a:defRPr sz="525">
                <a:solidFill>
                  <a:schemeClr val="accent2"/>
                </a:solidFill>
              </a:defRPr>
            </a:lvl2pPr>
            <a:lvl3pPr marL="0" indent="0" algn="ctr">
              <a:defRPr sz="525">
                <a:solidFill>
                  <a:schemeClr val="accent2"/>
                </a:solidFill>
              </a:defRPr>
            </a:lvl3pPr>
            <a:lvl4pPr marL="0" indent="0" algn="ctr">
              <a:defRPr sz="525">
                <a:solidFill>
                  <a:schemeClr val="accent2"/>
                </a:solidFill>
              </a:defRPr>
            </a:lvl4pPr>
            <a:lvl5pPr marL="0" indent="0" algn="ctr">
              <a:defRPr sz="525">
                <a:solidFill>
                  <a:schemeClr val="accent2"/>
                </a:solidFill>
              </a:defRPr>
            </a:lvl5pPr>
            <a:lvl6pPr marL="0" indent="0" algn="ctr">
              <a:defRPr sz="525">
                <a:solidFill>
                  <a:schemeClr val="accent2"/>
                </a:solidFill>
              </a:defRPr>
            </a:lvl6pPr>
            <a:lvl7pPr marL="0" indent="0" algn="ctr">
              <a:defRPr sz="525">
                <a:solidFill>
                  <a:schemeClr val="accent2"/>
                </a:solidFill>
              </a:defRPr>
            </a:lvl7pPr>
            <a:lvl8pPr marL="0" indent="0" algn="ctr">
              <a:defRPr sz="525">
                <a:solidFill>
                  <a:schemeClr val="accent2"/>
                </a:solidFill>
              </a:defRPr>
            </a:lvl8pPr>
            <a:lvl9pPr marL="0" indent="0" algn="ctr">
              <a:defRPr sz="525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empower - DO NOT DELETE!!!" hidden="1"/>
          <p:cNvSpPr/>
          <p:nvPr userDrawn="1">
            <p:custDataLst>
              <p:tags r:id="rId24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35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3693D9B-0493-2B4E-B980-E081390D0487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7978226" y="4892040"/>
            <a:ext cx="1075275" cy="253916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r"/>
            <a:r>
              <a:rPr lang="en-US" sz="1650" dirty="0">
                <a:solidFill>
                  <a:srgbClr val="FF893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150799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99" r:id="rId19"/>
    <p:sldLayoutId id="2147483752" r:id="rId20"/>
    <p:sldLayoutId id="2147483700" r:id="rId21"/>
    <p:sldLayoutId id="2147483701" r:id="rId22"/>
  </p:sldLayoutIdLst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900"/>
        </a:spcBef>
        <a:spcAft>
          <a:spcPts val="450"/>
        </a:spcAft>
        <a:buFont typeface="Arial" panose="020B0604020202020204" pitchFamily="34" charset="0"/>
        <a:buNone/>
        <a:defRPr sz="135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025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5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2pPr>
      <a:lvl3pPr marL="405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6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3pPr>
      <a:lvl4pPr marL="6075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7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4pPr>
      <a:lvl5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8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5pPr>
      <a:lvl6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8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8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8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8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35307" y="1299563"/>
            <a:ext cx="8101054" cy="35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736462" y="136454"/>
            <a:ext cx="8099899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342009" y="4963450"/>
            <a:ext cx="366760" cy="8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525">
                <a:noFill/>
              </a:defRPr>
            </a:lvl1pPr>
            <a:lvl2pPr marL="1191" indent="0" algn="r">
              <a:defRPr sz="525">
                <a:noFill/>
              </a:defRPr>
            </a:lvl2pPr>
            <a:lvl3pPr marL="0" indent="0" algn="r">
              <a:defRPr sz="525">
                <a:noFill/>
              </a:defRPr>
            </a:lvl3pPr>
            <a:lvl4pPr marL="0" indent="0" algn="r">
              <a:tabLst/>
              <a:defRPr sz="525">
                <a:noFill/>
              </a:defRPr>
            </a:lvl4pPr>
            <a:lvl5pPr marL="0" indent="0" algn="r">
              <a:defRPr sz="525">
                <a:noFill/>
              </a:defRPr>
            </a:lvl5pPr>
            <a:lvl6pPr marL="0" indent="0" algn="r">
              <a:defRPr sz="525">
                <a:noFill/>
              </a:defRPr>
            </a:lvl6pPr>
            <a:lvl7pPr marL="0" indent="0" algn="r">
              <a:defRPr sz="525">
                <a:noFill/>
              </a:defRPr>
            </a:lvl7pPr>
            <a:lvl8pPr marL="0" indent="0" algn="r">
              <a:defRPr sz="525">
                <a:noFill/>
              </a:defRPr>
            </a:lvl8pPr>
            <a:lvl9pPr marL="0" indent="0" algn="r">
              <a:defRPr sz="525">
                <a:noFill/>
              </a:defRPr>
            </a:lvl9pPr>
          </a:lstStyle>
          <a:p>
            <a:fld id="{67D9247B-7051-4DBD-8540-3BFDAC611952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31099" y="4963450"/>
            <a:ext cx="6480844" cy="8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525">
                <a:solidFill>
                  <a:schemeClr val="accent1"/>
                </a:solidFill>
              </a:defRPr>
            </a:lvl1pPr>
            <a:lvl2pPr marL="0" indent="0">
              <a:defRPr sz="525">
                <a:solidFill>
                  <a:schemeClr val="accent1"/>
                </a:solidFill>
              </a:defRPr>
            </a:lvl2pPr>
            <a:lvl3pPr marL="0" indent="0">
              <a:defRPr sz="525">
                <a:solidFill>
                  <a:schemeClr val="accent1"/>
                </a:solidFill>
              </a:defRPr>
            </a:lvl3pPr>
            <a:lvl4pPr marL="0" indent="0">
              <a:defRPr sz="525">
                <a:solidFill>
                  <a:schemeClr val="accent1"/>
                </a:solidFill>
              </a:defRPr>
            </a:lvl4pPr>
            <a:lvl5pPr marL="0" indent="0">
              <a:defRPr sz="525">
                <a:solidFill>
                  <a:schemeClr val="accent1"/>
                </a:solidFill>
              </a:defRPr>
            </a:lvl5pPr>
            <a:lvl6pPr marL="0" indent="0">
              <a:tabLst/>
              <a:defRPr sz="525">
                <a:solidFill>
                  <a:schemeClr val="accent1"/>
                </a:solidFill>
              </a:defRPr>
            </a:lvl6pPr>
            <a:lvl7pPr marL="0" indent="0">
              <a:tabLst/>
              <a:defRPr sz="525">
                <a:solidFill>
                  <a:schemeClr val="accent1"/>
                </a:solidFill>
              </a:defRPr>
            </a:lvl7pPr>
            <a:lvl8pPr marL="0" indent="0">
              <a:defRPr sz="525">
                <a:solidFill>
                  <a:schemeClr val="accent1"/>
                </a:solidFill>
              </a:defRPr>
            </a:lvl8pPr>
            <a:lvl9pPr marL="0" indent="0">
              <a:defRPr sz="525">
                <a:solidFill>
                  <a:schemeClr val="accent1"/>
                </a:solidFill>
              </a:defRPr>
            </a:lvl9pPr>
          </a:lstStyle>
          <a:p>
            <a:r>
              <a:rPr lang="en-US" dirty="0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46901" y="4963450"/>
            <a:ext cx="294283" cy="8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525">
                <a:solidFill>
                  <a:schemeClr val="accent2"/>
                </a:solidFill>
              </a:defRPr>
            </a:lvl1pPr>
            <a:lvl2pPr marL="0" indent="0" algn="ctr">
              <a:defRPr sz="525">
                <a:solidFill>
                  <a:schemeClr val="accent2"/>
                </a:solidFill>
              </a:defRPr>
            </a:lvl2pPr>
            <a:lvl3pPr marL="0" indent="0" algn="ctr">
              <a:defRPr sz="525">
                <a:solidFill>
                  <a:schemeClr val="accent2"/>
                </a:solidFill>
              </a:defRPr>
            </a:lvl3pPr>
            <a:lvl4pPr marL="0" indent="0" algn="ctr">
              <a:defRPr sz="525">
                <a:solidFill>
                  <a:schemeClr val="accent2"/>
                </a:solidFill>
              </a:defRPr>
            </a:lvl4pPr>
            <a:lvl5pPr marL="0" indent="0" algn="ctr">
              <a:defRPr sz="525">
                <a:solidFill>
                  <a:schemeClr val="accent2"/>
                </a:solidFill>
              </a:defRPr>
            </a:lvl5pPr>
            <a:lvl6pPr marL="0" indent="0" algn="ctr">
              <a:defRPr sz="525">
                <a:solidFill>
                  <a:schemeClr val="accent2"/>
                </a:solidFill>
              </a:defRPr>
            </a:lvl6pPr>
            <a:lvl7pPr marL="0" indent="0" algn="ctr">
              <a:defRPr sz="525">
                <a:solidFill>
                  <a:schemeClr val="accent2"/>
                </a:solidFill>
              </a:defRPr>
            </a:lvl7pPr>
            <a:lvl8pPr marL="0" indent="0" algn="ctr">
              <a:defRPr sz="525">
                <a:solidFill>
                  <a:schemeClr val="accent2"/>
                </a:solidFill>
              </a:defRPr>
            </a:lvl8pPr>
            <a:lvl9pPr marL="0" indent="0" algn="ctr">
              <a:defRPr sz="525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empower - DO NOT DELETE!!!" hidden="1"/>
          <p:cNvSpPr/>
          <p:nvPr userDrawn="1">
            <p:custDataLst>
              <p:tags r:id="rId21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35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3693D9B-0493-2B4E-B980-E081390D0487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7978226" y="4892040"/>
            <a:ext cx="1075275" cy="253916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r"/>
            <a:r>
              <a:rPr lang="en-US" sz="1650" dirty="0">
                <a:solidFill>
                  <a:srgbClr val="FF893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797530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900"/>
        </a:spcBef>
        <a:spcAft>
          <a:spcPts val="450"/>
        </a:spcAft>
        <a:buFont typeface="Arial" panose="020B0604020202020204" pitchFamily="34" charset="0"/>
        <a:buNone/>
        <a:defRPr sz="135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025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2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2pPr>
      <a:lvl3pPr marL="405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3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3pPr>
      <a:lvl4pPr marL="6075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4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4pPr>
      <a:lvl5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5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5pPr>
      <a:lvl6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5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5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5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5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35307" y="1299563"/>
            <a:ext cx="8101055" cy="35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736462" y="136454"/>
            <a:ext cx="80999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342009" y="4963450"/>
            <a:ext cx="366761" cy="8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525">
                <a:noFill/>
              </a:defRPr>
            </a:lvl1pPr>
            <a:lvl2pPr marL="1191" indent="0" algn="r">
              <a:defRPr sz="525">
                <a:noFill/>
              </a:defRPr>
            </a:lvl2pPr>
            <a:lvl3pPr marL="0" indent="0" algn="r">
              <a:defRPr sz="525">
                <a:noFill/>
              </a:defRPr>
            </a:lvl3pPr>
            <a:lvl4pPr marL="0" indent="0" algn="r">
              <a:tabLst/>
              <a:defRPr sz="525">
                <a:noFill/>
              </a:defRPr>
            </a:lvl4pPr>
            <a:lvl5pPr marL="0" indent="0" algn="r">
              <a:defRPr sz="525">
                <a:noFill/>
              </a:defRPr>
            </a:lvl5pPr>
            <a:lvl6pPr marL="0" indent="0" algn="r">
              <a:defRPr sz="525">
                <a:noFill/>
              </a:defRPr>
            </a:lvl6pPr>
            <a:lvl7pPr marL="0" indent="0" algn="r">
              <a:defRPr sz="525">
                <a:noFill/>
              </a:defRPr>
            </a:lvl7pPr>
            <a:lvl8pPr marL="0" indent="0" algn="r">
              <a:defRPr sz="525">
                <a:noFill/>
              </a:defRPr>
            </a:lvl8pPr>
            <a:lvl9pPr marL="0" indent="0" algn="r">
              <a:defRPr sz="525">
                <a:noFill/>
              </a:defRPr>
            </a:lvl9pPr>
          </a:lstStyle>
          <a:p>
            <a:fld id="{B523E514-765F-DA45-8333-BC3FD8636B28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31100" y="4963450"/>
            <a:ext cx="6480844" cy="8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525">
                <a:solidFill>
                  <a:schemeClr val="accent1"/>
                </a:solidFill>
              </a:defRPr>
            </a:lvl1pPr>
            <a:lvl2pPr marL="0" indent="0">
              <a:defRPr sz="525">
                <a:solidFill>
                  <a:schemeClr val="accent1"/>
                </a:solidFill>
              </a:defRPr>
            </a:lvl2pPr>
            <a:lvl3pPr marL="0" indent="0">
              <a:defRPr sz="525">
                <a:solidFill>
                  <a:schemeClr val="accent1"/>
                </a:solidFill>
              </a:defRPr>
            </a:lvl3pPr>
            <a:lvl4pPr marL="0" indent="0">
              <a:defRPr sz="525">
                <a:solidFill>
                  <a:schemeClr val="accent1"/>
                </a:solidFill>
              </a:defRPr>
            </a:lvl4pPr>
            <a:lvl5pPr marL="0" indent="0">
              <a:defRPr sz="525">
                <a:solidFill>
                  <a:schemeClr val="accent1"/>
                </a:solidFill>
              </a:defRPr>
            </a:lvl5pPr>
            <a:lvl6pPr marL="0" indent="0">
              <a:tabLst/>
              <a:defRPr sz="525">
                <a:solidFill>
                  <a:schemeClr val="accent1"/>
                </a:solidFill>
              </a:defRPr>
            </a:lvl6pPr>
            <a:lvl7pPr marL="0" indent="0">
              <a:tabLst/>
              <a:defRPr sz="525">
                <a:solidFill>
                  <a:schemeClr val="accent1"/>
                </a:solidFill>
              </a:defRPr>
            </a:lvl7pPr>
            <a:lvl8pPr marL="0" indent="0">
              <a:defRPr sz="525">
                <a:solidFill>
                  <a:schemeClr val="accent1"/>
                </a:solidFill>
              </a:defRPr>
            </a:lvl8pPr>
            <a:lvl9pPr marL="0" indent="0">
              <a:defRPr sz="525">
                <a:solidFill>
                  <a:schemeClr val="accent1"/>
                </a:solidFill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46902" y="4963450"/>
            <a:ext cx="294283" cy="8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525">
                <a:solidFill>
                  <a:schemeClr val="accent2"/>
                </a:solidFill>
              </a:defRPr>
            </a:lvl1pPr>
            <a:lvl2pPr marL="0" indent="0" algn="ctr">
              <a:defRPr sz="525">
                <a:solidFill>
                  <a:schemeClr val="accent2"/>
                </a:solidFill>
              </a:defRPr>
            </a:lvl2pPr>
            <a:lvl3pPr marL="0" indent="0" algn="ctr">
              <a:defRPr sz="525">
                <a:solidFill>
                  <a:schemeClr val="accent2"/>
                </a:solidFill>
              </a:defRPr>
            </a:lvl3pPr>
            <a:lvl4pPr marL="0" indent="0" algn="ctr">
              <a:defRPr sz="525">
                <a:solidFill>
                  <a:schemeClr val="accent2"/>
                </a:solidFill>
              </a:defRPr>
            </a:lvl4pPr>
            <a:lvl5pPr marL="0" indent="0" algn="ctr">
              <a:defRPr sz="525">
                <a:solidFill>
                  <a:schemeClr val="accent2"/>
                </a:solidFill>
              </a:defRPr>
            </a:lvl5pPr>
            <a:lvl6pPr marL="0" indent="0" algn="ctr">
              <a:defRPr sz="525">
                <a:solidFill>
                  <a:schemeClr val="accent2"/>
                </a:solidFill>
              </a:defRPr>
            </a:lvl6pPr>
            <a:lvl7pPr marL="0" indent="0" algn="ctr">
              <a:defRPr sz="525">
                <a:solidFill>
                  <a:schemeClr val="accent2"/>
                </a:solidFill>
              </a:defRPr>
            </a:lvl7pPr>
            <a:lvl8pPr marL="0" indent="0" algn="ctr">
              <a:defRPr sz="525">
                <a:solidFill>
                  <a:schemeClr val="accent2"/>
                </a:solidFill>
              </a:defRPr>
            </a:lvl8pPr>
            <a:lvl9pPr marL="0" indent="0" algn="ctr">
              <a:defRPr sz="525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empower - DO NOT DELETE!!!" hidden="1"/>
          <p:cNvSpPr/>
          <p:nvPr userDrawn="1">
            <p:custDataLst>
              <p:tags r:id="rId20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35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DA8809-90B6-4C08-8406-26EE4F48E0B7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8153400" y="4892040"/>
            <a:ext cx="900113" cy="253916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r"/>
            <a:r>
              <a:rPr lang="en-US" sz="1650" dirty="0">
                <a:solidFill>
                  <a:srgbClr val="91919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40126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</p:sldLayoutIdLst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900"/>
        </a:spcBef>
        <a:spcAft>
          <a:spcPts val="450"/>
        </a:spcAft>
        <a:buFont typeface="Arial" panose="020B0604020202020204" pitchFamily="34" charset="0"/>
        <a:buNone/>
        <a:defRPr sz="135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025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1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2pPr>
      <a:lvl3pPr marL="405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2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3pPr>
      <a:lvl4pPr marL="6075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3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4pPr>
      <a:lvl5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4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5pPr>
      <a:lvl6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4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4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4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4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9854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</p:sldLayoutIdLst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35307" y="1299563"/>
            <a:ext cx="8101055" cy="35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736462" y="136454"/>
            <a:ext cx="8099900" cy="648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342009" y="4963450"/>
            <a:ext cx="366761" cy="8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525">
                <a:noFill/>
              </a:defRPr>
            </a:lvl1pPr>
            <a:lvl2pPr marL="1191" indent="0" algn="r">
              <a:defRPr sz="525">
                <a:noFill/>
              </a:defRPr>
            </a:lvl2pPr>
            <a:lvl3pPr marL="0" indent="0" algn="r">
              <a:defRPr sz="525">
                <a:noFill/>
              </a:defRPr>
            </a:lvl3pPr>
            <a:lvl4pPr marL="0" indent="0" algn="r">
              <a:tabLst/>
              <a:defRPr sz="525">
                <a:noFill/>
              </a:defRPr>
            </a:lvl4pPr>
            <a:lvl5pPr marL="0" indent="0" algn="r">
              <a:defRPr sz="525">
                <a:noFill/>
              </a:defRPr>
            </a:lvl5pPr>
            <a:lvl6pPr marL="0" indent="0" algn="r">
              <a:defRPr sz="525">
                <a:noFill/>
              </a:defRPr>
            </a:lvl6pPr>
            <a:lvl7pPr marL="0" indent="0" algn="r">
              <a:defRPr sz="525">
                <a:noFill/>
              </a:defRPr>
            </a:lvl7pPr>
            <a:lvl8pPr marL="0" indent="0" algn="r">
              <a:defRPr sz="525">
                <a:noFill/>
              </a:defRPr>
            </a:lvl8pPr>
            <a:lvl9pPr marL="0" indent="0" algn="r">
              <a:defRPr sz="525">
                <a:noFill/>
              </a:defRPr>
            </a:lvl9pPr>
          </a:lstStyle>
          <a:p>
            <a:fld id="{B523E514-765F-DA45-8333-BC3FD8636B28}" type="datetime1">
              <a:rPr lang="en-US" smtClean="0"/>
              <a:t>5/5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31100" y="4963450"/>
            <a:ext cx="6480844" cy="8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525">
                <a:solidFill>
                  <a:schemeClr val="accent1"/>
                </a:solidFill>
              </a:defRPr>
            </a:lvl1pPr>
            <a:lvl2pPr marL="0" indent="0">
              <a:defRPr sz="525">
                <a:solidFill>
                  <a:schemeClr val="accent1"/>
                </a:solidFill>
              </a:defRPr>
            </a:lvl2pPr>
            <a:lvl3pPr marL="0" indent="0">
              <a:defRPr sz="525">
                <a:solidFill>
                  <a:schemeClr val="accent1"/>
                </a:solidFill>
              </a:defRPr>
            </a:lvl3pPr>
            <a:lvl4pPr marL="0" indent="0">
              <a:defRPr sz="525">
                <a:solidFill>
                  <a:schemeClr val="accent1"/>
                </a:solidFill>
              </a:defRPr>
            </a:lvl4pPr>
            <a:lvl5pPr marL="0" indent="0">
              <a:defRPr sz="525">
                <a:solidFill>
                  <a:schemeClr val="accent1"/>
                </a:solidFill>
              </a:defRPr>
            </a:lvl5pPr>
            <a:lvl6pPr marL="0" indent="0">
              <a:tabLst/>
              <a:defRPr sz="525">
                <a:solidFill>
                  <a:schemeClr val="accent1"/>
                </a:solidFill>
              </a:defRPr>
            </a:lvl6pPr>
            <a:lvl7pPr marL="0" indent="0">
              <a:tabLst/>
              <a:defRPr sz="525">
                <a:solidFill>
                  <a:schemeClr val="accent1"/>
                </a:solidFill>
              </a:defRPr>
            </a:lvl7pPr>
            <a:lvl8pPr marL="0" indent="0">
              <a:defRPr sz="525">
                <a:solidFill>
                  <a:schemeClr val="accent1"/>
                </a:solidFill>
              </a:defRPr>
            </a:lvl8pPr>
            <a:lvl9pPr marL="0" indent="0">
              <a:defRPr sz="525">
                <a:solidFill>
                  <a:schemeClr val="accent1"/>
                </a:solidFill>
              </a:defRPr>
            </a:lvl9pPr>
          </a:lstStyle>
          <a:p>
            <a:r>
              <a:rPr lang="en-US" dirty="0"/>
              <a:t>Metadata///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46902" y="4963450"/>
            <a:ext cx="294283" cy="8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525">
                <a:solidFill>
                  <a:schemeClr val="accent2"/>
                </a:solidFill>
              </a:defRPr>
            </a:lvl1pPr>
            <a:lvl2pPr marL="0" indent="0" algn="ctr">
              <a:defRPr sz="525">
                <a:solidFill>
                  <a:schemeClr val="accent2"/>
                </a:solidFill>
              </a:defRPr>
            </a:lvl2pPr>
            <a:lvl3pPr marL="0" indent="0" algn="ctr">
              <a:defRPr sz="525">
                <a:solidFill>
                  <a:schemeClr val="accent2"/>
                </a:solidFill>
              </a:defRPr>
            </a:lvl3pPr>
            <a:lvl4pPr marL="0" indent="0" algn="ctr">
              <a:defRPr sz="525">
                <a:solidFill>
                  <a:schemeClr val="accent2"/>
                </a:solidFill>
              </a:defRPr>
            </a:lvl4pPr>
            <a:lvl5pPr marL="0" indent="0" algn="ctr">
              <a:defRPr sz="525">
                <a:solidFill>
                  <a:schemeClr val="accent2"/>
                </a:solidFill>
              </a:defRPr>
            </a:lvl5pPr>
            <a:lvl6pPr marL="0" indent="0" algn="ctr">
              <a:defRPr sz="525">
                <a:solidFill>
                  <a:schemeClr val="accent2"/>
                </a:solidFill>
              </a:defRPr>
            </a:lvl6pPr>
            <a:lvl7pPr marL="0" indent="0" algn="ctr">
              <a:defRPr sz="525">
                <a:solidFill>
                  <a:schemeClr val="accent2"/>
                </a:solidFill>
              </a:defRPr>
            </a:lvl7pPr>
            <a:lvl8pPr marL="0" indent="0" algn="ctr">
              <a:defRPr sz="525">
                <a:solidFill>
                  <a:schemeClr val="accent2"/>
                </a:solidFill>
              </a:defRPr>
            </a:lvl8pPr>
            <a:lvl9pPr marL="0" indent="0" algn="ctr">
              <a:defRPr sz="525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empower - DO NOT DELETE!!!" hidden="1"/>
          <p:cNvSpPr/>
          <p:nvPr userDrawn="1">
            <p:custDataLst>
              <p:tags r:id="rId20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35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DA8809-90B6-4C08-8406-26EE4F48E0B7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8153400" y="4892040"/>
            <a:ext cx="900113" cy="253916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r"/>
            <a:r>
              <a:rPr lang="en-US" sz="1650" dirty="0">
                <a:solidFill>
                  <a:srgbClr val="91919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216419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</p:sldLayoutIdLst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900"/>
        </a:spcBef>
        <a:spcAft>
          <a:spcPts val="450"/>
        </a:spcAft>
        <a:buFont typeface="Arial" panose="020B0604020202020204" pitchFamily="34" charset="0"/>
        <a:buNone/>
        <a:defRPr sz="135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025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1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2pPr>
      <a:lvl3pPr marL="405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2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3pPr>
      <a:lvl4pPr marL="6075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3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4pPr>
      <a:lvl5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4"/>
        </a:buBlip>
        <a:defRPr sz="1350" kern="1200">
          <a:solidFill>
            <a:schemeClr val="accent1"/>
          </a:solidFill>
          <a:latin typeface="+mn-lt"/>
          <a:ea typeface="+mn-ea"/>
          <a:cs typeface="+mn-cs"/>
        </a:defRPr>
      </a:lvl5pPr>
      <a:lvl6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4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4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4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4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edh-np-portal.bayer.com/" TargetMode="External"/><Relationship Id="rId2" Type="http://schemas.openxmlformats.org/officeDocument/2006/relationships/hyperlink" Target="https://cloverfield.bayer.com/edh-docs/portal-guide/datahub-portal/" TargetMode="Externa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14.png"/><Relationship Id="rId4" Type="http://schemas.openxmlformats.org/officeDocument/2006/relationships/hyperlink" Target="https://edh-portal.bayer.com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cloverfield.bayer.com/edh-docs/architecture/topics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5.xml"/><Relationship Id="rId4" Type="http://schemas.openxmlformats.org/officeDocument/2006/relationships/hyperlink" Target="https://cloverfield.bayer.com/edh-docs/portal-guide/topic-prefix/topic-prefix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cloverfield.bayer.com/edh-docs/portal-guide/cert-dn/cert-dn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cloverfield.bayer.com/edh-docs/architecture/topics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5.xml"/><Relationship Id="rId4" Type="http://schemas.openxmlformats.org/officeDocument/2006/relationships/hyperlink" Target="https://cloverfield.bayer.com/edh-docs/portal-guide/create-topic/create-topic/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docs.confluent.io/current/schema-registry/docs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5.xml"/><Relationship Id="rId6" Type="http://schemas.openxmlformats.org/officeDocument/2006/relationships/hyperlink" Target="https://cloverfield.bayer.com/edh-docs/portal-guide/register-schema/register-schema/" TargetMode="External"/><Relationship Id="rId5" Type="http://schemas.openxmlformats.org/officeDocument/2006/relationships/hyperlink" Target="https://cloverfield.bayer.com/edh-docs/architecture/avro-schemas/" TargetMode="External"/><Relationship Id="rId4" Type="http://schemas.openxmlformats.org/officeDocument/2006/relationships/hyperlink" Target="https://avro.apache.org/docs/current/spec.html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cloverfield.bayer.com/edh-docs/architecture/security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5.xml"/><Relationship Id="rId4" Type="http://schemas.openxmlformats.org/officeDocument/2006/relationships/hyperlink" Target="https://cloverfield.bayer.com/edh-docs/portal-guide/add-acl/add-acl/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cloverfield.bayer.com/edh-docs/portal-guide/create-replication/create-replication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cloverfield.bayer.com/edh-docs/architecture/security/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5.xml"/><Relationship Id="rId4" Type="http://schemas.openxmlformats.org/officeDocument/2006/relationships/hyperlink" Target="https://cloverfield.bayer.com/edh-docs/portal-guide/gen-cert/gen-cert/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cloverfield.bayer.com/edh-docs/developer/kafka-clients/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5.xml"/><Relationship Id="rId4" Type="http://schemas.openxmlformats.org/officeDocument/2006/relationships/hyperlink" Target="https://cloverfield.bayer.com/edh-docs/datahub-wire/datahub-wire/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cloverfield.bayer.com/edh-docs/getting-started/grafana_kibana_prometheus/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5.xml"/><Relationship Id="rId4" Type="http://schemas.openxmlformats.org/officeDocument/2006/relationships/hyperlink" Target="https://cloverfield.bayer.com/edh-docs/getting-started/datahub-endpoints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5.xml"/><Relationship Id="rId1" Type="http://schemas.openxmlformats.org/officeDocument/2006/relationships/themeOverride" Target="../theme/themeOverr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edh-np-portal.bayer.com/" TargetMode="External"/><Relationship Id="rId2" Type="http://schemas.openxmlformats.org/officeDocument/2006/relationships/hyperlink" Target="https://cloverfield.bayer.com/edh-docs" TargetMode="External"/><Relationship Id="rId1" Type="http://schemas.openxmlformats.org/officeDocument/2006/relationships/slideLayout" Target="../slideLayouts/slideLayout45.xml"/><Relationship Id="rId5" Type="http://schemas.openxmlformats.org/officeDocument/2006/relationships/hyperlink" Target="https://teams.microsoft.com/l/channel/19%3af223a1f0243d41108435db4a91762d49%40thread.skype/General?groupId=b962ccbd-eea0-449b-874d-1b99d69df40d&amp;tenantId=fcb2b37b-5da0-466b-9b83-0014b67a7c78" TargetMode="External"/><Relationship Id="rId4" Type="http://schemas.openxmlformats.org/officeDocument/2006/relationships/hyperlink" Target="https://edh-portal.bayer.com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cloverfield.bayer.com/edh-docs/" TargetMode="External"/><Relationship Id="rId2" Type="http://schemas.openxmlformats.org/officeDocument/2006/relationships/slideLayout" Target="../slideLayouts/slideLayout45.xml"/><Relationship Id="rId1" Type="http://schemas.openxmlformats.org/officeDocument/2006/relationships/themeOverride" Target="../theme/themeOverride2.xml"/><Relationship Id="rId4" Type="http://schemas.openxmlformats.org/officeDocument/2006/relationships/hyperlink" Target="https://cloverfield.bayer.com/edh-docs/home/engagement/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Relationship Id="rId5" Type="http://schemas.openxmlformats.org/officeDocument/2006/relationships/hyperlink" Target="https://www.confluent.io/" TargetMode="External"/><Relationship Id="rId4" Type="http://schemas.openxmlformats.org/officeDocument/2006/relationships/hyperlink" Target="https://kafka.apache.org/intro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cloverfield.bayer.com/edh-docs/home/when_use_kafka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5.xml"/><Relationship Id="rId6" Type="http://schemas.openxmlformats.org/officeDocument/2006/relationships/hyperlink" Target="https://cloverfield.bayer.com/edh-docs/getting-started/onboarding-data-sources/" TargetMode="External"/><Relationship Id="rId5" Type="http://schemas.openxmlformats.org/officeDocument/2006/relationships/hyperlink" Target="https://bayernet.int.bayer.com/en/myit/csrm" TargetMode="External"/><Relationship Id="rId4" Type="http://schemas.openxmlformats.org/officeDocument/2006/relationships/hyperlink" Target="https://edh-docs.bayer.com/getting-started/use-cases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cloverfield.bayer.com/edh-docs/platform-troubleshooting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5.xml"/><Relationship Id="rId4" Type="http://schemas.openxmlformats.org/officeDocument/2006/relationships/hyperlink" Target="https://cloverfield.bayer.com/edh-docs/vpc-to-vpc-connectivity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anchor="t">
            <a:normAutofit fontScale="90000"/>
          </a:bodyPr>
          <a:lstStyle/>
          <a:p>
            <a:r>
              <a:rPr lang="en-US" b="1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Enterprise</a:t>
            </a:r>
            <a:r>
              <a:rPr lang="en-US" b="1" dirty="0"/>
              <a:t> </a:t>
            </a:r>
            <a:r>
              <a:rPr lang="en-US" b="1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DataHub</a:t>
            </a:r>
            <a:br>
              <a:rPr lang="en-US" b="1" dirty="0"/>
            </a:br>
            <a:endParaRPr lang="en-US" i="1" dirty="0">
              <a:effectLst/>
            </a:endParaRPr>
          </a:p>
        </p:txBody>
      </p:sp>
      <p:pic>
        <p:nvPicPr>
          <p:cNvPr id="7" name="Picture 6" descr="Shape, icon&#10;&#10;Description automatically generated">
            <a:extLst>
              <a:ext uri="{FF2B5EF4-FFF2-40B4-BE49-F238E27FC236}">
                <a16:creationId xmlns:a16="http://schemas.microsoft.com/office/drawing/2014/main" id="{284DC7A0-9E8E-F340-9C2A-8BDA2D1250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9010" y="1261068"/>
            <a:ext cx="2621364" cy="26213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03338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DataHub Porta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1BB0F47-D14E-9D47-9A7B-1B05A9D651B3}"/>
              </a:ext>
            </a:extLst>
          </p:cNvPr>
          <p:cNvSpPr/>
          <p:nvPr/>
        </p:nvSpPr>
        <p:spPr>
          <a:xfrm>
            <a:off x="1398818" y="3942320"/>
            <a:ext cx="7391511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/>
              <a:t>Docs Site Info/Guides: </a:t>
            </a:r>
            <a:r>
              <a:rPr lang="en-US" sz="1400" dirty="0">
                <a:hlinkClick r:id="rId2"/>
              </a:rPr>
              <a:t>https://cloverfield.bayer.com/edh-docs/portal-guide/datahub-portal/</a:t>
            </a:r>
            <a:endParaRPr lang="en-US" sz="1400" dirty="0"/>
          </a:p>
          <a:p>
            <a:r>
              <a:rPr lang="en-US" sz="1400" b="1" dirty="0"/>
              <a:t>Non-Prod Portal: </a:t>
            </a:r>
            <a:r>
              <a:rPr lang="en-US" sz="1400" dirty="0">
                <a:hlinkClick r:id="rId3"/>
              </a:rPr>
              <a:t>http://edh-np-portal.bayer.com/</a:t>
            </a:r>
            <a:endParaRPr lang="en-US" sz="1400" dirty="0"/>
          </a:p>
          <a:p>
            <a:r>
              <a:rPr lang="en-US" sz="1400" b="1" dirty="0"/>
              <a:t>Prod Portal: </a:t>
            </a:r>
            <a:r>
              <a:rPr lang="en-US" sz="1400" dirty="0">
                <a:hlinkClick r:id="rId4"/>
              </a:rPr>
              <a:t>https://edh-portal.bayer.com/</a:t>
            </a:r>
            <a:endParaRPr lang="en-US" sz="1400" dirty="0"/>
          </a:p>
        </p:txBody>
      </p:sp>
      <p:pic>
        <p:nvPicPr>
          <p:cNvPr id="6" name="Picture 5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BE841713-64CF-664A-8966-A2D5A2C2D8F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40338" y="1096176"/>
            <a:ext cx="4063323" cy="2700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738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17906-A39B-4349-B2A4-5AD4AD121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Topic Group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D7227E-8D80-BA4C-B029-F92F29D9312B}"/>
              </a:ext>
            </a:extLst>
          </p:cNvPr>
          <p:cNvSpPr txBox="1"/>
          <p:nvPr/>
        </p:nvSpPr>
        <p:spPr>
          <a:xfrm>
            <a:off x="943175" y="1063229"/>
            <a:ext cx="725765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opic Group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What is a topic group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Used to manage topic admin privileges on topic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ssign one or more PAPI groups – members in PAPI have admin access to topics under that topic group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effectLst/>
              </a:rPr>
              <a:t>The topic group will be the prefix for the topic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3"/>
              </a:rPr>
              <a:t>Topic naming convention</a:t>
            </a:r>
            <a:endParaRPr lang="en-US" dirty="0">
              <a:effectLst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4"/>
              </a:rPr>
              <a:t>Docs Site – Create Topic Group</a:t>
            </a:r>
            <a:endParaRPr lang="en-US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823447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17906-A39B-4349-B2A4-5AD4AD121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Create D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258B01-2448-B948-9504-635FC1C72EE7}"/>
              </a:ext>
            </a:extLst>
          </p:cNvPr>
          <p:cNvSpPr txBox="1"/>
          <p:nvPr/>
        </p:nvSpPr>
        <p:spPr>
          <a:xfrm>
            <a:off x="943175" y="1063229"/>
            <a:ext cx="725765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is a DN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anage client certs for connecting to the Datahub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Used to assign ACLs on topics for permiss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ssign one or more PAPI groups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Members in the PAPI group have admin access to create/delete certs under the D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3"/>
              </a:rPr>
              <a:t>Docs Site – Create DN</a:t>
            </a:r>
            <a:endParaRPr lang="en-US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349377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17906-A39B-4349-B2A4-5AD4AD121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Topic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D7227E-8D80-BA4C-B029-F92F29D9312B}"/>
              </a:ext>
            </a:extLst>
          </p:cNvPr>
          <p:cNvSpPr txBox="1"/>
          <p:nvPr/>
        </p:nvSpPr>
        <p:spPr>
          <a:xfrm>
            <a:off x="943175" y="963056"/>
            <a:ext cx="7257650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is a topic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All messages are published to a topic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Producers publish data to topic and one or more consumers can subscribe to the topic to get the messag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reate Topic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Topic nam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Follow the topic naming patter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Partition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One unless there is a good reason to use more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Can only be increased, so plan accordingl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Retention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Default 7 day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Replication Factor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Default to 3 – up to two brokers can be lost before losing data</a:t>
            </a:r>
            <a:r>
              <a:rPr lang="en-US" sz="1600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3"/>
              </a:rPr>
              <a:t>Docs Site – About Topics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4"/>
              </a:rPr>
              <a:t>Docs Site – Create Topic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298272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17906-A39B-4349-B2A4-5AD4AD121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Schem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D7227E-8D80-BA4C-B029-F92F29D9312B}"/>
              </a:ext>
            </a:extLst>
          </p:cNvPr>
          <p:cNvSpPr txBox="1"/>
          <p:nvPr/>
        </p:nvSpPr>
        <p:spPr>
          <a:xfrm>
            <a:off x="943175" y="1024416"/>
            <a:ext cx="7257650" cy="40010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is a Schema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Describe the data model of the messag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We leverage the </a:t>
            </a:r>
            <a:r>
              <a:rPr lang="en-US" sz="1600" dirty="0">
                <a:hlinkClick r:id="rId3"/>
              </a:rPr>
              <a:t>Confluent Schema Registry</a:t>
            </a:r>
            <a:r>
              <a:rPr lang="en-US" sz="1600" dirty="0"/>
              <a:t>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Provides storage, retrieval and versioning of schemas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Allows evolution of schemas based on compatibility setting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We use </a:t>
            </a:r>
            <a:r>
              <a:rPr lang="en-US" sz="1600" dirty="0">
                <a:hlinkClick r:id="rId4"/>
              </a:rPr>
              <a:t>AVRO</a:t>
            </a:r>
            <a:endParaRPr lang="en-US" sz="1600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Robust evolution capabil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Why use Schemas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Promotes data discovery and reus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Minimizes the impact of changes on downstream consu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re schemas required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Optiona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When it doesn’t make sense, for example, error topics or raw data top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5"/>
              </a:rPr>
              <a:t>Docs Site - Schema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6"/>
              </a:rPr>
              <a:t>Docs Site – Register Schema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46819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17906-A39B-4349-B2A4-5AD4AD121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ACL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430553-D934-194C-9572-E5C6BD155393}"/>
              </a:ext>
            </a:extLst>
          </p:cNvPr>
          <p:cNvSpPr txBox="1"/>
          <p:nvPr/>
        </p:nvSpPr>
        <p:spPr>
          <a:xfrm>
            <a:off x="943175" y="1063229"/>
            <a:ext cx="7257650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ccess Control Lis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By default, no one can read or write to a topic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Producers typically need write or all permission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Consumers read permiss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pplied based on D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refixed or Litera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opic owners' control ACLs and access to topics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f there is a read or higher ACL on a topic. The members of the PAPI group that owns that DN can read messages in the topic message browser in the Datahub Portal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3"/>
              </a:rPr>
              <a:t>Docs Site - Security Overview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4"/>
              </a:rPr>
              <a:t>Docs Site – Add ACLs</a:t>
            </a:r>
            <a:endParaRPr lang="en-US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145584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17906-A39B-4349-B2A4-5AD4AD121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Replic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430553-D934-194C-9572-E5C6BD155393}"/>
              </a:ext>
            </a:extLst>
          </p:cNvPr>
          <p:cNvSpPr txBox="1"/>
          <p:nvPr/>
        </p:nvSpPr>
        <p:spPr>
          <a:xfrm>
            <a:off x="943175" y="1063229"/>
            <a:ext cx="725765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opic replication between clusters provided by Datahu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opic owners can setup/delete replication at any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plication can run between any/all cluster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3"/>
              </a:rPr>
              <a:t>Docs Site – Create Replication Task</a:t>
            </a:r>
            <a:endParaRPr lang="en-US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675969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17906-A39B-4349-B2A4-5AD4AD121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Generate C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723357D-BF30-6E4D-B103-03391DDAC2FA}"/>
              </a:ext>
            </a:extLst>
          </p:cNvPr>
          <p:cNvSpPr txBox="1"/>
          <p:nvPr/>
        </p:nvSpPr>
        <p:spPr>
          <a:xfrm>
            <a:off x="943175" y="1063229"/>
            <a:ext cx="7257650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is a cert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SL certificate used for authentication, encryption and authoriz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he DN defined for the cert is used as the principal for defining topic ACL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ll clients accessing the EDH must have a valid SSL/TLS certifica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he members of the PAPI group assigned to the DN can generate/delete certs under that D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3"/>
              </a:rPr>
              <a:t>Docs Site - Security Overview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4"/>
              </a:rPr>
              <a:t>Docs Site – Generating Cert</a:t>
            </a:r>
            <a:endParaRPr lang="en-US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857309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17906-A39B-4349-B2A4-5AD4AD121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Clien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723357D-BF30-6E4D-B103-03391DDAC2FA}"/>
              </a:ext>
            </a:extLst>
          </p:cNvPr>
          <p:cNvSpPr txBox="1"/>
          <p:nvPr/>
        </p:nvSpPr>
        <p:spPr>
          <a:xfrm>
            <a:off x="943175" y="1063229"/>
            <a:ext cx="7257650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duc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Reads messages from the source and writes messages to Kafka Topi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sum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Reads messages from Kafka Topic and writes messages to targ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n be custom code or if the use case is supported, out of box solu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atahub Wire or Kafka Conne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ient teams are responsible for running, monitoring and maintaining client apps/co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ert required in client code to connect to the clust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3"/>
              </a:rPr>
              <a:t>Docs Site - Developer Guide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4"/>
              </a:rPr>
              <a:t>Docs Site – Datahub Wire</a:t>
            </a:r>
            <a:endParaRPr lang="en-US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085673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17906-A39B-4349-B2A4-5AD4AD121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Dashboards and Log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723357D-BF30-6E4D-B103-03391DDAC2FA}"/>
              </a:ext>
            </a:extLst>
          </p:cNvPr>
          <p:cNvSpPr txBox="1"/>
          <p:nvPr/>
        </p:nvSpPr>
        <p:spPr>
          <a:xfrm>
            <a:off x="943175" y="1063229"/>
            <a:ext cx="7257650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hub does provide Kibana logs and Grafana Dashboards for teams to us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his shouldn’t replace client monitoring/alerting for the team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he links are listed on the Metrics and Logging and the Accessing the Environment pag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re is a public Prometheus end point teams can setup their own custom dashboards/alerting as well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3"/>
              </a:rPr>
              <a:t>Docs Site - Metrics and Logging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4"/>
              </a:rPr>
              <a:t>Docs Site – Accessing the Environment</a:t>
            </a:r>
            <a:endParaRPr lang="en-US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433938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321994" y="222268"/>
            <a:ext cx="7218941" cy="648000"/>
          </a:xfrm>
        </p:spPr>
        <p:txBody>
          <a:bodyPr vert="horz" lIns="91440" tIns="45720" rIns="91440" bIns="45720" rtlCol="0" anchor="t">
            <a:normAutofit fontScale="90000"/>
          </a:bodyPr>
          <a:lstStyle/>
          <a:p>
            <a:pPr>
              <a:lnSpc>
                <a:spcPct val="90000"/>
              </a:lnSpc>
            </a:pPr>
            <a:br>
              <a:rPr lang="en-US" sz="1800" b="1" dirty="0"/>
            </a:br>
            <a:r>
              <a:rPr lang="en-US" sz="4000" b="1" dirty="0"/>
              <a:t>Overview</a:t>
            </a:r>
            <a:br>
              <a:rPr lang="en-US" sz="4000" b="1" dirty="0"/>
            </a:br>
            <a:endParaRPr lang="en-US" sz="40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760589" y="1142179"/>
            <a:ext cx="8099900" cy="35639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914400" lvl="1" indent="-457200">
              <a:lnSpc>
                <a:spcPct val="90000"/>
              </a:lnSpc>
              <a:spcBef>
                <a:spcPct val="20000"/>
              </a:spcBef>
              <a:spcAft>
                <a:spcPts val="1200"/>
              </a:spcAft>
              <a:buFont typeface="Arial"/>
              <a:buChar char="•"/>
            </a:pPr>
            <a:endParaRPr lang="de-DE" sz="1500" dirty="0"/>
          </a:p>
          <a:p>
            <a:pPr marL="914400" lvl="1" indent="-457200">
              <a:lnSpc>
                <a:spcPct val="90000"/>
              </a:lnSpc>
              <a:spcBef>
                <a:spcPct val="20000"/>
              </a:spcBef>
              <a:spcAft>
                <a:spcPts val="1200"/>
              </a:spcAft>
              <a:buFont typeface="Arial"/>
              <a:buChar char="•"/>
            </a:pPr>
            <a:r>
              <a:rPr lang="de-DE" sz="1500" dirty="0"/>
              <a:t>What is the Enterprise Datahub?</a:t>
            </a:r>
          </a:p>
          <a:p>
            <a:pPr marL="914400" lvl="1" indent="-457200">
              <a:lnSpc>
                <a:spcPct val="90000"/>
              </a:lnSpc>
              <a:spcBef>
                <a:spcPct val="20000"/>
              </a:spcBef>
              <a:spcAft>
                <a:spcPts val="1200"/>
              </a:spcAft>
              <a:buFont typeface="Arial"/>
              <a:buChar char="•"/>
            </a:pPr>
            <a:r>
              <a:rPr lang="de-DE" sz="1500" dirty="0"/>
              <a:t>General Onboarding Questions/Steps</a:t>
            </a:r>
          </a:p>
          <a:p>
            <a:pPr marL="914400" lvl="1" indent="-457200">
              <a:lnSpc>
                <a:spcPct val="90000"/>
              </a:lnSpc>
              <a:spcBef>
                <a:spcPct val="20000"/>
              </a:spcBef>
              <a:spcAft>
                <a:spcPts val="1200"/>
              </a:spcAft>
              <a:buFont typeface="Arial"/>
              <a:buChar char="•"/>
            </a:pPr>
            <a:r>
              <a:rPr lang="de-DE" sz="1500" dirty="0"/>
              <a:t>The components </a:t>
            </a:r>
            <a:r>
              <a:rPr lang="de-DE" sz="1500"/>
              <a:t>of the </a:t>
            </a:r>
            <a:r>
              <a:rPr lang="de-DE" sz="1500" dirty="0"/>
              <a:t>Datahub</a:t>
            </a:r>
          </a:p>
        </p:txBody>
      </p:sp>
    </p:spTree>
    <p:extLst>
      <p:ext uri="{BB962C8B-B14F-4D97-AF65-F5344CB8AC3E}">
        <p14:creationId xmlns:p14="http://schemas.microsoft.com/office/powerpoint/2010/main" val="19228984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The</a:t>
            </a:r>
            <a:r>
              <a:rPr lang="en-US" b="1" dirty="0"/>
              <a:t> </a:t>
            </a:r>
            <a:r>
              <a:rPr lang="en-US" sz="3600" b="1" dirty="0"/>
              <a:t>En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9FDB8C6-8BCF-4942-857E-37FA1BF6FDAA}"/>
              </a:ext>
            </a:extLst>
          </p:cNvPr>
          <p:cNvSpPr txBox="1"/>
          <p:nvPr/>
        </p:nvSpPr>
        <p:spPr bwMode="gray">
          <a:xfrm>
            <a:off x="1768510" y="1467059"/>
            <a:ext cx="4943789" cy="216039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Link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	</a:t>
            </a:r>
            <a:r>
              <a:rPr lang="en-US" dirty="0">
                <a:solidFill>
                  <a:schemeClr val="accent1">
                    <a:lumMod val="75000"/>
                    <a:lumOff val="25000"/>
                  </a:schemeClr>
                </a:solidFill>
                <a:latin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ahub Docs</a:t>
            </a:r>
            <a:endParaRPr lang="en-US" dirty="0">
              <a:solidFill>
                <a:schemeClr val="accent1">
                  <a:lumMod val="75000"/>
                  <a:lumOff val="25000"/>
                </a:schemeClr>
              </a:solidFill>
              <a:latin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	Datahub Portal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>
                    <a:lumMod val="75000"/>
                    <a:lumOff val="25000"/>
                  </a:schemeClr>
                </a:solidFill>
                <a:latin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on-Prod</a:t>
            </a:r>
            <a:endParaRPr lang="en-US" dirty="0">
              <a:solidFill>
                <a:schemeClr val="accent1">
                  <a:lumMod val="75000"/>
                  <a:lumOff val="25000"/>
                </a:schemeClr>
              </a:solidFill>
              <a:latin typeface="Arial" panose="020B0604020202020204" pitchFamily="34" charset="0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b="0" i="0" u="none" baseline="0" dirty="0">
                <a:solidFill>
                  <a:schemeClr val="accent1">
                    <a:lumMod val="75000"/>
                    <a:lumOff val="25000"/>
                  </a:schemeClr>
                </a:solidFill>
                <a:latin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d</a:t>
            </a:r>
            <a:endParaRPr lang="en-US" b="0" i="0" u="none" baseline="0" dirty="0">
              <a:solidFill>
                <a:schemeClr val="accent1">
                  <a:lumMod val="75000"/>
                  <a:lumOff val="25000"/>
                </a:schemeClr>
              </a:solidFill>
              <a:latin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	</a:t>
            </a:r>
            <a:r>
              <a:rPr lang="en-US" dirty="0">
                <a:solidFill>
                  <a:schemeClr val="accent1">
                    <a:lumMod val="75000"/>
                    <a:lumOff val="25000"/>
                  </a:schemeClr>
                </a:solidFill>
                <a:latin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crosoft Teams Channel</a:t>
            </a:r>
            <a:endParaRPr lang="en-US" b="0" i="0" u="none" baseline="0" dirty="0">
              <a:solidFill>
                <a:schemeClr val="accent1">
                  <a:lumMod val="75000"/>
                  <a:lumOff val="25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9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321994" y="222268"/>
            <a:ext cx="7218941" cy="648000"/>
          </a:xfrm>
        </p:spPr>
        <p:txBody>
          <a:bodyPr vert="horz" lIns="91440" tIns="45720" rIns="91440" bIns="45720" rtlCol="0" anchor="t">
            <a:normAutofit fontScale="90000"/>
          </a:bodyPr>
          <a:lstStyle/>
          <a:p>
            <a:pPr>
              <a:lnSpc>
                <a:spcPct val="90000"/>
              </a:lnSpc>
            </a:pPr>
            <a:br>
              <a:rPr lang="en-US" sz="1800" b="1" dirty="0"/>
            </a:br>
            <a:r>
              <a:rPr lang="en-US" sz="4000" b="1" dirty="0"/>
              <a:t>What</a:t>
            </a:r>
            <a:r>
              <a:rPr lang="en-US" sz="1800" b="1" i="1" dirty="0"/>
              <a:t> </a:t>
            </a:r>
            <a:r>
              <a:rPr lang="en-US" sz="4000" b="1" dirty="0"/>
              <a:t>is the Enterprise Datahub?</a:t>
            </a:r>
            <a:br>
              <a:rPr lang="en-US" sz="4000" b="1" dirty="0"/>
            </a:br>
            <a:endParaRPr lang="en-US" sz="40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760589" y="1142179"/>
            <a:ext cx="8099900" cy="35639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914400" lvl="1" indent="-457200">
              <a:lnSpc>
                <a:spcPct val="90000"/>
              </a:lnSpc>
              <a:spcBef>
                <a:spcPct val="20000"/>
              </a:spcBef>
              <a:spcAft>
                <a:spcPts val="1200"/>
              </a:spcAft>
              <a:buFont typeface="Arial"/>
              <a:buChar char="•"/>
            </a:pPr>
            <a:r>
              <a:rPr lang="de-DE" sz="1500" dirty="0"/>
              <a:t>High-throughput, distributed messaging system</a:t>
            </a:r>
          </a:p>
          <a:p>
            <a:pPr marL="1371600" lvl="2" indent="-457200">
              <a:lnSpc>
                <a:spcPct val="90000"/>
              </a:lnSpc>
              <a:spcBef>
                <a:spcPct val="20000"/>
              </a:spcBef>
              <a:spcAft>
                <a:spcPts val="1200"/>
              </a:spcAft>
              <a:buFont typeface="Arial"/>
              <a:buChar char="•"/>
            </a:pPr>
            <a:r>
              <a:rPr lang="de-DE" sz="1500" dirty="0"/>
              <a:t>Cross-datacenter integration</a:t>
            </a:r>
          </a:p>
          <a:p>
            <a:pPr marL="1371600" lvl="2" indent="-457200">
              <a:lnSpc>
                <a:spcPct val="90000"/>
              </a:lnSpc>
              <a:spcBef>
                <a:spcPct val="20000"/>
              </a:spcBef>
              <a:spcAft>
                <a:spcPts val="1200"/>
              </a:spcAft>
              <a:buFont typeface="Arial"/>
              <a:buChar char="•"/>
            </a:pPr>
            <a:r>
              <a:rPr lang="de-DE" sz="1500" dirty="0"/>
              <a:t>Stream processing</a:t>
            </a:r>
          </a:p>
          <a:p>
            <a:pPr marL="1371600" lvl="2" indent="-457200">
              <a:lnSpc>
                <a:spcPct val="90000"/>
              </a:lnSpc>
              <a:spcBef>
                <a:spcPct val="20000"/>
              </a:spcBef>
              <a:spcAft>
                <a:spcPts val="1200"/>
              </a:spcAft>
              <a:buFont typeface="Arial"/>
              <a:buChar char="•"/>
            </a:pPr>
            <a:r>
              <a:rPr lang="de-DE" sz="1500" dirty="0"/>
              <a:t>Leverages the Confluent Platform built on Apache Kafka</a:t>
            </a:r>
          </a:p>
          <a:p>
            <a:pPr marL="914400" lvl="1" indent="-457200">
              <a:lnSpc>
                <a:spcPct val="90000"/>
              </a:lnSpc>
              <a:spcBef>
                <a:spcPct val="20000"/>
              </a:spcBef>
              <a:spcAft>
                <a:spcPts val="1200"/>
              </a:spcAft>
              <a:buFont typeface="Arial"/>
              <a:buChar char="•"/>
            </a:pPr>
            <a:r>
              <a:rPr lang="de-DE" sz="1500" dirty="0"/>
              <a:t>How long has it been around?</a:t>
            </a:r>
          </a:p>
          <a:p>
            <a:pPr marL="1371600" lvl="2" indent="-457200">
              <a:lnSpc>
                <a:spcPct val="90000"/>
              </a:lnSpc>
              <a:spcBef>
                <a:spcPct val="20000"/>
              </a:spcBef>
              <a:spcAft>
                <a:spcPts val="1200"/>
              </a:spcAft>
              <a:buFont typeface="Arial"/>
              <a:buChar char="•"/>
            </a:pPr>
            <a:r>
              <a:rPr lang="de-DE" sz="1500" dirty="0"/>
              <a:t>Initial poc started - Spring 2015</a:t>
            </a:r>
          </a:p>
          <a:p>
            <a:pPr marL="1371600" lvl="2" indent="-457200">
              <a:lnSpc>
                <a:spcPct val="90000"/>
              </a:lnSpc>
              <a:spcBef>
                <a:spcPct val="20000"/>
              </a:spcBef>
              <a:spcAft>
                <a:spcPts val="1200"/>
              </a:spcAft>
              <a:buFont typeface="Arial"/>
              <a:buChar char="•"/>
            </a:pPr>
            <a:r>
              <a:rPr lang="de-DE" sz="1500" dirty="0"/>
              <a:t>Production go live - September 2016</a:t>
            </a:r>
          </a:p>
          <a:p>
            <a:pPr marL="914400" lvl="1" indent="-457200">
              <a:lnSpc>
                <a:spcPct val="90000"/>
              </a:lnSpc>
              <a:spcBef>
                <a:spcPct val="20000"/>
              </a:spcBef>
              <a:spcAft>
                <a:spcPts val="1200"/>
              </a:spcAft>
              <a:buFont typeface="Arial"/>
              <a:buChar char="•"/>
            </a:pPr>
            <a:r>
              <a:rPr lang="de-DE" sz="1500" dirty="0">
                <a:hlinkClick r:id="rId3"/>
              </a:rPr>
              <a:t>Datahub docs site - Home Page</a:t>
            </a:r>
            <a:endParaRPr lang="de-DE" sz="1500" dirty="0"/>
          </a:p>
          <a:p>
            <a:pPr marL="914400" lvl="1" indent="-457200">
              <a:lnSpc>
                <a:spcPct val="90000"/>
              </a:lnSpc>
              <a:spcBef>
                <a:spcPct val="20000"/>
              </a:spcBef>
              <a:spcAft>
                <a:spcPts val="1200"/>
              </a:spcAft>
              <a:buFont typeface="Arial"/>
              <a:buChar char="•"/>
            </a:pPr>
            <a:r>
              <a:rPr lang="de-DE" sz="1500" dirty="0">
                <a:hlinkClick r:id="rId4"/>
              </a:rPr>
              <a:t>Contact us</a:t>
            </a:r>
            <a:endParaRPr lang="de-DE" sz="1500" dirty="0"/>
          </a:p>
        </p:txBody>
      </p:sp>
    </p:spTree>
    <p:extLst>
      <p:ext uri="{BB962C8B-B14F-4D97-AF65-F5344CB8AC3E}">
        <p14:creationId xmlns:p14="http://schemas.microsoft.com/office/powerpoint/2010/main" val="26983631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Cross-Datacenter Integration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1284538" y="1151801"/>
            <a:ext cx="6790937" cy="3248226"/>
            <a:chOff x="741680" y="998768"/>
            <a:chExt cx="7362772" cy="3684992"/>
          </a:xfrm>
        </p:grpSpPr>
        <p:grpSp>
          <p:nvGrpSpPr>
            <p:cNvPr id="87" name="Group 86"/>
            <p:cNvGrpSpPr/>
            <p:nvPr/>
          </p:nvGrpSpPr>
          <p:grpSpPr>
            <a:xfrm>
              <a:off x="741680" y="1000057"/>
              <a:ext cx="1850780" cy="3683703"/>
              <a:chOff x="534784" y="1000479"/>
              <a:chExt cx="2057676" cy="3909872"/>
            </a:xfrm>
          </p:grpSpPr>
          <p:sp>
            <p:nvSpPr>
              <p:cNvPr id="3" name="Rectangle 2"/>
              <p:cNvSpPr/>
              <p:nvPr/>
            </p:nvSpPr>
            <p:spPr>
              <a:xfrm>
                <a:off x="534784" y="1000479"/>
                <a:ext cx="2057676" cy="390987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2857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" name="Rounded Rectangle 4"/>
              <p:cNvSpPr/>
              <p:nvPr/>
            </p:nvSpPr>
            <p:spPr>
              <a:xfrm>
                <a:off x="988486" y="2790567"/>
                <a:ext cx="1133329" cy="747488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</a:rPr>
                  <a:t>Kafka</a:t>
                </a:r>
              </a:p>
              <a:p>
                <a:pPr algn="ctr"/>
                <a:r>
                  <a:rPr lang="en-US" sz="1600" dirty="0">
                    <a:solidFill>
                      <a:schemeClr val="tx1"/>
                    </a:solidFill>
                  </a:rPr>
                  <a:t>Cluster</a:t>
                </a:r>
              </a:p>
            </p:txBody>
          </p:sp>
          <p:sp>
            <p:nvSpPr>
              <p:cNvPr id="7" name="TextBox 6"/>
              <p:cNvSpPr txBox="1"/>
              <p:nvPr/>
            </p:nvSpPr>
            <p:spPr>
              <a:xfrm>
                <a:off x="835767" y="1096956"/>
                <a:ext cx="1438766" cy="296479"/>
              </a:xfrm>
              <a:prstGeom prst="rect">
                <a:avLst/>
              </a:prstGeom>
              <a:solidFill>
                <a:schemeClr val="tx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>
                    <a:solidFill>
                      <a:srgbClr val="FFFFFF"/>
                    </a:solidFill>
                  </a:rPr>
                  <a:t>AWS-EU</a:t>
                </a: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577413" y="1448223"/>
                <a:ext cx="967427" cy="31500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/>
                  <a:t>Producers</a:t>
                </a:r>
                <a:endParaRPr lang="en-US" sz="1100" dirty="0"/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1501576" y="1452855"/>
                <a:ext cx="990600" cy="30574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/>
                  <a:t>Consumers</a:t>
                </a:r>
              </a:p>
            </p:txBody>
          </p:sp>
          <p:cxnSp>
            <p:nvCxnSpPr>
              <p:cNvPr id="26" name="Straight Arrow Connector 25"/>
              <p:cNvCxnSpPr/>
              <p:nvPr/>
            </p:nvCxnSpPr>
            <p:spPr>
              <a:xfrm>
                <a:off x="1064683" y="2244531"/>
                <a:ext cx="351922" cy="492275"/>
              </a:xfrm>
              <a:prstGeom prst="straightConnector1">
                <a:avLst/>
              </a:prstGeom>
              <a:solidFill>
                <a:schemeClr val="bg1">
                  <a:lumMod val="95000"/>
                </a:schemeClr>
              </a:solidFill>
              <a:ln w="31750">
                <a:tailEnd type="arrow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Arrow Connector 26"/>
              <p:cNvCxnSpPr/>
              <p:nvPr/>
            </p:nvCxnSpPr>
            <p:spPr>
              <a:xfrm flipV="1">
                <a:off x="1674283" y="2244530"/>
                <a:ext cx="304800" cy="457200"/>
              </a:xfrm>
              <a:prstGeom prst="straightConnector1">
                <a:avLst/>
              </a:prstGeom>
              <a:solidFill>
                <a:schemeClr val="bg1">
                  <a:lumMod val="95000"/>
                </a:schemeClr>
              </a:solidFill>
              <a:ln w="31750">
                <a:tailEnd type="arrow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5" name="Group 14"/>
              <p:cNvGrpSpPr/>
              <p:nvPr/>
            </p:nvGrpSpPr>
            <p:grpSpPr>
              <a:xfrm>
                <a:off x="1648847" y="1709763"/>
                <a:ext cx="820156" cy="498328"/>
                <a:chOff x="584161" y="3199032"/>
                <a:chExt cx="820156" cy="498327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6" name="Oval 15"/>
                <p:cNvSpPr>
                  <a:spLocks noChangeAspect="1"/>
                </p:cNvSpPr>
                <p:nvPr/>
              </p:nvSpPr>
              <p:spPr>
                <a:xfrm>
                  <a:off x="584161" y="3199033"/>
                  <a:ext cx="515354" cy="498326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7" name="Oval 16"/>
                <p:cNvSpPr>
                  <a:spLocks noChangeAspect="1"/>
                </p:cNvSpPr>
                <p:nvPr/>
              </p:nvSpPr>
              <p:spPr>
                <a:xfrm>
                  <a:off x="736561" y="3199033"/>
                  <a:ext cx="515354" cy="498326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8" name="Oval 17"/>
                <p:cNvSpPr>
                  <a:spLocks noChangeAspect="1"/>
                </p:cNvSpPr>
                <p:nvPr/>
              </p:nvSpPr>
              <p:spPr>
                <a:xfrm>
                  <a:off x="888963" y="3199032"/>
                  <a:ext cx="515354" cy="498326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grpSp>
            <p:nvGrpSpPr>
              <p:cNvPr id="14" name="Group 13"/>
              <p:cNvGrpSpPr/>
              <p:nvPr/>
            </p:nvGrpSpPr>
            <p:grpSpPr>
              <a:xfrm>
                <a:off x="634123" y="1702780"/>
                <a:ext cx="820154" cy="498327"/>
                <a:chOff x="560037" y="3192049"/>
                <a:chExt cx="820154" cy="498326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2" name="Oval 11"/>
                <p:cNvSpPr>
                  <a:spLocks noChangeAspect="1"/>
                </p:cNvSpPr>
                <p:nvPr/>
              </p:nvSpPr>
              <p:spPr>
                <a:xfrm>
                  <a:off x="560037" y="3192049"/>
                  <a:ext cx="515355" cy="498326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3" name="Oval 12"/>
                <p:cNvSpPr>
                  <a:spLocks noChangeAspect="1"/>
                </p:cNvSpPr>
                <p:nvPr/>
              </p:nvSpPr>
              <p:spPr>
                <a:xfrm>
                  <a:off x="712437" y="3192049"/>
                  <a:ext cx="515355" cy="498326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1" name="Oval 10"/>
                <p:cNvSpPr>
                  <a:spLocks noChangeAspect="1"/>
                </p:cNvSpPr>
                <p:nvPr/>
              </p:nvSpPr>
              <p:spPr>
                <a:xfrm>
                  <a:off x="864837" y="3192049"/>
                  <a:ext cx="515354" cy="498326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</p:grpSp>
        <p:sp>
          <p:nvSpPr>
            <p:cNvPr id="90" name="Rectangle 89"/>
            <p:cNvSpPr/>
            <p:nvPr/>
          </p:nvSpPr>
          <p:spPr>
            <a:xfrm>
              <a:off x="3497676" y="998768"/>
              <a:ext cx="1850780" cy="36837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Rounded Rectangle 90"/>
            <p:cNvSpPr/>
            <p:nvPr/>
          </p:nvSpPr>
          <p:spPr>
            <a:xfrm>
              <a:off x="3905759" y="2685307"/>
              <a:ext cx="1019375" cy="70424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Kafka</a:t>
              </a:r>
            </a:p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Cluster</a:t>
              </a: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3557444" y="1421901"/>
              <a:ext cx="870154" cy="2967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sz="1050" dirty="0"/>
                <a:t>Producers</a:t>
              </a:r>
              <a:endParaRPr lang="en-US" sz="1200" dirty="0"/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4390056" y="1426265"/>
              <a:ext cx="890997" cy="2880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sz="1050" dirty="0"/>
                <a:t>Consumers</a:t>
              </a:r>
            </a:p>
          </p:txBody>
        </p:sp>
        <p:cxnSp>
          <p:nvCxnSpPr>
            <p:cNvPr id="95" name="Straight Arrow Connector 94"/>
            <p:cNvCxnSpPr/>
            <p:nvPr/>
          </p:nvCxnSpPr>
          <p:spPr>
            <a:xfrm>
              <a:off x="3974295" y="2170857"/>
              <a:ext cx="316537" cy="463799"/>
            </a:xfrm>
            <a:prstGeom prst="straightConnector1">
              <a:avLst/>
            </a:prstGeom>
            <a:solidFill>
              <a:schemeClr val="bg1">
                <a:lumMod val="95000"/>
              </a:schemeClr>
            </a:solidFill>
            <a:ln w="31750">
              <a:tailEnd type="arrow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Arrow Connector 95"/>
            <p:cNvCxnSpPr/>
            <p:nvPr/>
          </p:nvCxnSpPr>
          <p:spPr>
            <a:xfrm flipV="1">
              <a:off x="4522600" y="2170856"/>
              <a:ext cx="274153" cy="430753"/>
            </a:xfrm>
            <a:prstGeom prst="straightConnector1">
              <a:avLst/>
            </a:prstGeom>
            <a:solidFill>
              <a:schemeClr val="bg1">
                <a:lumMod val="95000"/>
              </a:schemeClr>
            </a:solidFill>
            <a:ln w="31750">
              <a:tailEnd type="arrow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7" name="Group 96"/>
            <p:cNvGrpSpPr/>
            <p:nvPr/>
          </p:nvGrpSpPr>
          <p:grpSpPr>
            <a:xfrm>
              <a:off x="4499567" y="1668312"/>
              <a:ext cx="737691" cy="469501"/>
              <a:chOff x="583988" y="3200400"/>
              <a:chExt cx="820155" cy="498326"/>
            </a:xfrm>
            <a:solidFill>
              <a:schemeClr val="bg1">
                <a:lumMod val="95000"/>
              </a:schemeClr>
            </a:solidFill>
          </p:grpSpPr>
          <p:sp>
            <p:nvSpPr>
              <p:cNvPr id="102" name="Oval 101"/>
              <p:cNvSpPr>
                <a:spLocks noChangeAspect="1"/>
              </p:cNvSpPr>
              <p:nvPr/>
            </p:nvSpPr>
            <p:spPr>
              <a:xfrm>
                <a:off x="583988" y="3200400"/>
                <a:ext cx="515355" cy="498326"/>
              </a:xfrm>
              <a:prstGeom prst="ellipse">
                <a:avLst/>
              </a:prstGeom>
              <a:grpFill/>
              <a:ln w="12700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03" name="Oval 102"/>
              <p:cNvSpPr>
                <a:spLocks noChangeAspect="1"/>
              </p:cNvSpPr>
              <p:nvPr/>
            </p:nvSpPr>
            <p:spPr>
              <a:xfrm>
                <a:off x="736388" y="3200400"/>
                <a:ext cx="515355" cy="498326"/>
              </a:xfrm>
              <a:prstGeom prst="ellipse">
                <a:avLst/>
              </a:prstGeom>
              <a:grpFill/>
              <a:ln w="12700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04" name="Oval 103"/>
              <p:cNvSpPr>
                <a:spLocks noChangeAspect="1"/>
              </p:cNvSpPr>
              <p:nvPr/>
            </p:nvSpPr>
            <p:spPr>
              <a:xfrm>
                <a:off x="888788" y="3200400"/>
                <a:ext cx="515355" cy="498326"/>
              </a:xfrm>
              <a:prstGeom prst="ellipse">
                <a:avLst/>
              </a:prstGeom>
              <a:grpFill/>
              <a:ln w="12700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98" name="Group 97"/>
            <p:cNvGrpSpPr/>
            <p:nvPr/>
          </p:nvGrpSpPr>
          <p:grpSpPr>
            <a:xfrm>
              <a:off x="3600610" y="1668312"/>
              <a:ext cx="737690" cy="469501"/>
              <a:chOff x="575138" y="3200400"/>
              <a:chExt cx="820155" cy="498326"/>
            </a:xfrm>
            <a:solidFill>
              <a:schemeClr val="bg1">
                <a:lumMod val="95000"/>
              </a:schemeClr>
            </a:solidFill>
          </p:grpSpPr>
          <p:sp>
            <p:nvSpPr>
              <p:cNvPr id="99" name="Oval 98"/>
              <p:cNvSpPr>
                <a:spLocks noChangeAspect="1"/>
              </p:cNvSpPr>
              <p:nvPr/>
            </p:nvSpPr>
            <p:spPr>
              <a:xfrm>
                <a:off x="575138" y="3200400"/>
                <a:ext cx="515355" cy="498326"/>
              </a:xfrm>
              <a:prstGeom prst="ellipse">
                <a:avLst/>
              </a:prstGeom>
              <a:grpFill/>
              <a:ln w="12700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00" name="Oval 99"/>
              <p:cNvSpPr>
                <a:spLocks noChangeAspect="1"/>
              </p:cNvSpPr>
              <p:nvPr/>
            </p:nvSpPr>
            <p:spPr>
              <a:xfrm>
                <a:off x="727538" y="3200400"/>
                <a:ext cx="515355" cy="498326"/>
              </a:xfrm>
              <a:prstGeom prst="ellipse">
                <a:avLst/>
              </a:prstGeom>
              <a:grpFill/>
              <a:ln w="12700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01" name="Oval 100"/>
              <p:cNvSpPr>
                <a:spLocks noChangeAspect="1"/>
              </p:cNvSpPr>
              <p:nvPr/>
            </p:nvSpPr>
            <p:spPr>
              <a:xfrm>
                <a:off x="879938" y="3200400"/>
                <a:ext cx="515355" cy="498326"/>
              </a:xfrm>
              <a:prstGeom prst="ellipse">
                <a:avLst/>
              </a:prstGeom>
              <a:grpFill/>
              <a:ln w="12700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129" name="Rounded Rectangle 128"/>
            <p:cNvSpPr/>
            <p:nvPr/>
          </p:nvSpPr>
          <p:spPr>
            <a:xfrm>
              <a:off x="3814337" y="3805300"/>
              <a:ext cx="1217457" cy="70424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Replicant</a:t>
              </a:r>
            </a:p>
          </p:txBody>
        </p:sp>
        <p:grpSp>
          <p:nvGrpSpPr>
            <p:cNvPr id="127" name="Group 126"/>
            <p:cNvGrpSpPr/>
            <p:nvPr/>
          </p:nvGrpSpPr>
          <p:grpSpPr>
            <a:xfrm>
              <a:off x="6253672" y="998768"/>
              <a:ext cx="1850780" cy="3683703"/>
              <a:chOff x="6253672" y="998768"/>
              <a:chExt cx="1850780" cy="3683703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6253672" y="998768"/>
                <a:ext cx="1850780" cy="3683703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28575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2" name="Rounded Rectangle 111"/>
              <p:cNvSpPr/>
              <p:nvPr/>
            </p:nvSpPr>
            <p:spPr>
              <a:xfrm>
                <a:off x="6661755" y="2685307"/>
                <a:ext cx="1019375" cy="704249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>
                    <a:solidFill>
                      <a:schemeClr val="tx1"/>
                    </a:solidFill>
                  </a:rPr>
                  <a:t>Kafka</a:t>
                </a:r>
              </a:p>
              <a:p>
                <a:pPr algn="ctr"/>
                <a:r>
                  <a:rPr lang="en-US" sz="1600" dirty="0">
                    <a:solidFill>
                      <a:schemeClr val="tx1"/>
                    </a:solidFill>
                  </a:rPr>
                  <a:t>Cluster</a:t>
                </a:r>
              </a:p>
            </p:txBody>
          </p:sp>
          <p:sp>
            <p:nvSpPr>
              <p:cNvPr id="113" name="TextBox 112"/>
              <p:cNvSpPr txBox="1"/>
              <p:nvPr/>
            </p:nvSpPr>
            <p:spPr>
              <a:xfrm>
                <a:off x="6313440" y="1421901"/>
                <a:ext cx="870154" cy="2967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/>
                  <a:t>Producers</a:t>
                </a:r>
              </a:p>
            </p:txBody>
          </p:sp>
          <p:sp>
            <p:nvSpPr>
              <p:cNvPr id="114" name="TextBox 113"/>
              <p:cNvSpPr txBox="1"/>
              <p:nvPr/>
            </p:nvSpPr>
            <p:spPr>
              <a:xfrm>
                <a:off x="7146052" y="1426265"/>
                <a:ext cx="890997" cy="28805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/>
                  <a:t>Consumers</a:t>
                </a:r>
                <a:endParaRPr lang="en-US" sz="1200" dirty="0"/>
              </a:p>
            </p:txBody>
          </p:sp>
          <p:cxnSp>
            <p:nvCxnSpPr>
              <p:cNvPr id="115" name="Straight Arrow Connector 114"/>
              <p:cNvCxnSpPr/>
              <p:nvPr/>
            </p:nvCxnSpPr>
            <p:spPr>
              <a:xfrm>
                <a:off x="6730291" y="2170857"/>
                <a:ext cx="316537" cy="463799"/>
              </a:xfrm>
              <a:prstGeom prst="straightConnector1">
                <a:avLst/>
              </a:prstGeom>
              <a:solidFill>
                <a:schemeClr val="bg1">
                  <a:lumMod val="95000"/>
                </a:schemeClr>
              </a:solidFill>
              <a:ln w="31750">
                <a:tailEnd type="arrow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Arrow Connector 115"/>
              <p:cNvCxnSpPr/>
              <p:nvPr/>
            </p:nvCxnSpPr>
            <p:spPr>
              <a:xfrm flipV="1">
                <a:off x="7278596" y="2170856"/>
                <a:ext cx="274153" cy="430753"/>
              </a:xfrm>
              <a:prstGeom prst="straightConnector1">
                <a:avLst/>
              </a:prstGeom>
              <a:solidFill>
                <a:schemeClr val="bg1">
                  <a:lumMod val="95000"/>
                </a:schemeClr>
              </a:solidFill>
              <a:ln w="31750">
                <a:tailEnd type="arrow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7" name="Group 116"/>
              <p:cNvGrpSpPr/>
              <p:nvPr/>
            </p:nvGrpSpPr>
            <p:grpSpPr>
              <a:xfrm>
                <a:off x="7251892" y="1664460"/>
                <a:ext cx="737690" cy="469501"/>
                <a:chOff x="579907" y="3196312"/>
                <a:chExt cx="820155" cy="498326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23" name="Oval 122"/>
                <p:cNvSpPr>
                  <a:spLocks noChangeAspect="1"/>
                </p:cNvSpPr>
                <p:nvPr/>
              </p:nvSpPr>
              <p:spPr>
                <a:xfrm>
                  <a:off x="579907" y="3196312"/>
                  <a:ext cx="515355" cy="498326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24" name="Oval 123"/>
                <p:cNvSpPr>
                  <a:spLocks noChangeAspect="1"/>
                </p:cNvSpPr>
                <p:nvPr/>
              </p:nvSpPr>
              <p:spPr>
                <a:xfrm>
                  <a:off x="732307" y="3196312"/>
                  <a:ext cx="515355" cy="498326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25" name="Oval 124"/>
                <p:cNvSpPr>
                  <a:spLocks noChangeAspect="1"/>
                </p:cNvSpPr>
                <p:nvPr/>
              </p:nvSpPr>
              <p:spPr>
                <a:xfrm>
                  <a:off x="884707" y="3196312"/>
                  <a:ext cx="515355" cy="498326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grpSp>
            <p:nvGrpSpPr>
              <p:cNvPr id="118" name="Group 117"/>
              <p:cNvGrpSpPr/>
              <p:nvPr/>
            </p:nvGrpSpPr>
            <p:grpSpPr>
              <a:xfrm>
                <a:off x="6371873" y="1668312"/>
                <a:ext cx="737689" cy="469501"/>
                <a:chOff x="592113" y="3200400"/>
                <a:chExt cx="820155" cy="498326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20" name="Oval 119"/>
                <p:cNvSpPr>
                  <a:spLocks noChangeAspect="1"/>
                </p:cNvSpPr>
                <p:nvPr/>
              </p:nvSpPr>
              <p:spPr>
                <a:xfrm>
                  <a:off x="592113" y="3200400"/>
                  <a:ext cx="515355" cy="498326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21" name="Oval 120"/>
                <p:cNvSpPr>
                  <a:spLocks noChangeAspect="1"/>
                </p:cNvSpPr>
                <p:nvPr/>
              </p:nvSpPr>
              <p:spPr>
                <a:xfrm>
                  <a:off x="744513" y="3200400"/>
                  <a:ext cx="515355" cy="498326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22" name="Oval 121"/>
                <p:cNvSpPr>
                  <a:spLocks noChangeAspect="1"/>
                </p:cNvSpPr>
                <p:nvPr/>
              </p:nvSpPr>
              <p:spPr>
                <a:xfrm>
                  <a:off x="896913" y="3200400"/>
                  <a:ext cx="515355" cy="498326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</p:grpSp>
        <p:cxnSp>
          <p:nvCxnSpPr>
            <p:cNvPr id="131" name="Straight Arrow Connector 130"/>
            <p:cNvCxnSpPr>
              <a:stCxn id="129" idx="3"/>
              <a:endCxn id="112" idx="1"/>
            </p:cNvCxnSpPr>
            <p:nvPr/>
          </p:nvCxnSpPr>
          <p:spPr>
            <a:xfrm flipV="1">
              <a:off x="5031794" y="3037432"/>
              <a:ext cx="1629961" cy="1119993"/>
            </a:xfrm>
            <a:prstGeom prst="straightConnector1">
              <a:avLst/>
            </a:prstGeom>
            <a:ln w="31750">
              <a:headEnd type="arrow"/>
              <a:tailEnd type="arrow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cxnSpLocks/>
              <a:stCxn id="5" idx="3"/>
              <a:endCxn id="129" idx="1"/>
            </p:cNvCxnSpPr>
            <p:nvPr/>
          </p:nvCxnSpPr>
          <p:spPr>
            <a:xfrm>
              <a:off x="2169138" y="3038721"/>
              <a:ext cx="1645199" cy="1118704"/>
            </a:xfrm>
            <a:prstGeom prst="straightConnector1">
              <a:avLst/>
            </a:prstGeom>
            <a:ln w="31750">
              <a:headEnd type="arrow"/>
              <a:tailEnd type="arrow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Arrow Connector 136"/>
            <p:cNvCxnSpPr>
              <a:stCxn id="129" idx="0"/>
              <a:endCxn id="91" idx="2"/>
            </p:cNvCxnSpPr>
            <p:nvPr/>
          </p:nvCxnSpPr>
          <p:spPr>
            <a:xfrm flipH="1" flipV="1">
              <a:off x="4415447" y="3389556"/>
              <a:ext cx="7619" cy="415744"/>
            </a:xfrm>
            <a:prstGeom prst="straightConnector1">
              <a:avLst/>
            </a:prstGeom>
            <a:ln w="31750">
              <a:headEnd type="arrow"/>
              <a:tailEnd type="arrow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203DA213-8D16-9A4B-B791-82761B8B93E8}"/>
              </a:ext>
            </a:extLst>
          </p:cNvPr>
          <p:cNvSpPr txBox="1"/>
          <p:nvPr/>
        </p:nvSpPr>
        <p:spPr>
          <a:xfrm>
            <a:off x="4118554" y="1239688"/>
            <a:ext cx="1148236" cy="24622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FFFFFF"/>
                </a:solidFill>
              </a:rPr>
              <a:t>AW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BF189BB-8EE6-624D-81B6-82E26C94399A}"/>
              </a:ext>
            </a:extLst>
          </p:cNvPr>
          <p:cNvSpPr txBox="1"/>
          <p:nvPr/>
        </p:nvSpPr>
        <p:spPr>
          <a:xfrm>
            <a:off x="6647838" y="1234923"/>
            <a:ext cx="1148236" cy="24622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FFFFFF"/>
                </a:solidFill>
              </a:rPr>
              <a:t>GCP</a:t>
            </a:r>
          </a:p>
        </p:txBody>
      </p:sp>
    </p:spTree>
    <p:extLst>
      <p:ext uri="{BB962C8B-B14F-4D97-AF65-F5344CB8AC3E}">
        <p14:creationId xmlns:p14="http://schemas.microsoft.com/office/powerpoint/2010/main" val="391393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Stream Processing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4BECCBA-22FF-864D-BC3D-235D4A4EBB7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460500" y="1057394"/>
            <a:ext cx="6223000" cy="3380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319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BC085EC-5E24-4C42-BA24-3C9D21332AC4}"/>
              </a:ext>
            </a:extLst>
          </p:cNvPr>
          <p:cNvGrpSpPr/>
          <p:nvPr/>
        </p:nvGrpSpPr>
        <p:grpSpPr>
          <a:xfrm>
            <a:off x="5255087" y="950655"/>
            <a:ext cx="3332321" cy="3471213"/>
            <a:chOff x="4096014" y="112378"/>
            <a:chExt cx="4717694" cy="549965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7AAA5BE-7516-8141-A3DA-2D636EC69D99}"/>
                </a:ext>
              </a:extLst>
            </p:cNvPr>
            <p:cNvSpPr/>
            <p:nvPr/>
          </p:nvSpPr>
          <p:spPr>
            <a:xfrm>
              <a:off x="5555398" y="410685"/>
              <a:ext cx="1568877" cy="4283527"/>
            </a:xfrm>
            <a:prstGeom prst="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Can 5">
              <a:extLst>
                <a:ext uri="{FF2B5EF4-FFF2-40B4-BE49-F238E27FC236}">
                  <a16:creationId xmlns:a16="http://schemas.microsoft.com/office/drawing/2014/main" id="{F8B596DD-8AA7-374A-BCEB-F23C43CA3D08}"/>
                </a:ext>
              </a:extLst>
            </p:cNvPr>
            <p:cNvSpPr/>
            <p:nvPr/>
          </p:nvSpPr>
          <p:spPr>
            <a:xfrm rot="16200000">
              <a:off x="6165516" y="821612"/>
              <a:ext cx="323736" cy="1083334"/>
            </a:xfrm>
            <a:prstGeom prst="can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" rtlCol="0" anchor="ctr" anchorCtr="1"/>
            <a:lstStyle/>
            <a:p>
              <a:pPr algn="ctr"/>
              <a:r>
                <a:rPr lang="en-US" sz="1400" dirty="0"/>
                <a:t>Topic 1</a:t>
              </a:r>
            </a:p>
          </p:txBody>
        </p:sp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67EADB51-CDC5-024E-B43E-6FCB5227C522}"/>
                </a:ext>
              </a:extLst>
            </p:cNvPr>
            <p:cNvCxnSpPr>
              <a:stCxn id="18" idx="3"/>
            </p:cNvCxnSpPr>
            <p:nvPr/>
          </p:nvCxnSpPr>
          <p:spPr>
            <a:xfrm flipV="1">
              <a:off x="4673920" y="1339443"/>
              <a:ext cx="1111801" cy="23837"/>
            </a:xfrm>
            <a:prstGeom prst="straightConnector1">
              <a:avLst/>
            </a:prstGeom>
            <a:ln>
              <a:solidFill>
                <a:schemeClr val="tx1"/>
              </a:solidFill>
              <a:prstDash val="solid"/>
              <a:tailEnd type="arrow"/>
            </a:ln>
            <a:effectLst>
              <a:outerShdw blurRad="40005" dist="19939" dir="5400000" algn="tl" rotWithShape="0">
                <a:srgbClr val="000000">
                  <a:alpha val="3800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85DD0C38-8D4A-A347-8EE6-D3C8D005AFA0}"/>
                </a:ext>
              </a:extLst>
            </p:cNvPr>
            <p:cNvCxnSpPr>
              <a:stCxn id="18" idx="3"/>
            </p:cNvCxnSpPr>
            <p:nvPr/>
          </p:nvCxnSpPr>
          <p:spPr>
            <a:xfrm>
              <a:off x="4673920" y="1363279"/>
              <a:ext cx="1111801" cy="483440"/>
            </a:xfrm>
            <a:prstGeom prst="straightConnector1">
              <a:avLst/>
            </a:prstGeom>
            <a:ln>
              <a:solidFill>
                <a:schemeClr val="tx1"/>
              </a:solidFill>
              <a:prstDash val="solid"/>
              <a:tailEnd type="arrow"/>
            </a:ln>
            <a:effectLst>
              <a:outerShdw blurRad="40005" dist="19939" dir="5400000" algn="tl" rotWithShape="0">
                <a:srgbClr val="000000">
                  <a:alpha val="3800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3EEFC3D4-B326-7046-89C5-037763A0A3E6}"/>
                </a:ext>
              </a:extLst>
            </p:cNvPr>
            <p:cNvCxnSpPr>
              <a:stCxn id="19" idx="3"/>
              <a:endCxn id="13" idx="1"/>
            </p:cNvCxnSpPr>
            <p:nvPr/>
          </p:nvCxnSpPr>
          <p:spPr>
            <a:xfrm flipV="1">
              <a:off x="4673919" y="2493154"/>
              <a:ext cx="1111801" cy="26399"/>
            </a:xfrm>
            <a:prstGeom prst="straightConnector1">
              <a:avLst/>
            </a:prstGeom>
            <a:ln>
              <a:solidFill>
                <a:schemeClr val="tx1"/>
              </a:solidFill>
              <a:prstDash val="solid"/>
              <a:tailEnd type="arrow"/>
            </a:ln>
            <a:effectLst>
              <a:outerShdw blurRad="40005" dist="19939" dir="5400000" algn="tl" rotWithShape="0">
                <a:srgbClr val="000000">
                  <a:alpha val="3800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Can 10">
              <a:extLst>
                <a:ext uri="{FF2B5EF4-FFF2-40B4-BE49-F238E27FC236}">
                  <a16:creationId xmlns:a16="http://schemas.microsoft.com/office/drawing/2014/main" id="{0C54DA48-52A1-CB4A-A221-0B3E8120D2ED}"/>
                </a:ext>
              </a:extLst>
            </p:cNvPr>
            <p:cNvSpPr/>
            <p:nvPr/>
          </p:nvSpPr>
          <p:spPr>
            <a:xfrm rot="16200000">
              <a:off x="6165516" y="2504532"/>
              <a:ext cx="323736" cy="1083334"/>
            </a:xfrm>
            <a:prstGeom prst="can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" rtlCol="0" anchor="ctr" anchorCtr="1"/>
            <a:lstStyle/>
            <a:p>
              <a:pPr algn="ctr"/>
              <a:r>
                <a:rPr lang="en-US" sz="1400" dirty="0"/>
                <a:t>Topic 4</a:t>
              </a:r>
            </a:p>
          </p:txBody>
        </p:sp>
        <p:sp>
          <p:nvSpPr>
            <p:cNvPr id="12" name="Can 11">
              <a:extLst>
                <a:ext uri="{FF2B5EF4-FFF2-40B4-BE49-F238E27FC236}">
                  <a16:creationId xmlns:a16="http://schemas.microsoft.com/office/drawing/2014/main" id="{B0D07893-0CAD-8B42-A96E-1C28A7B8BA35}"/>
                </a:ext>
              </a:extLst>
            </p:cNvPr>
            <p:cNvSpPr/>
            <p:nvPr/>
          </p:nvSpPr>
          <p:spPr>
            <a:xfrm rot="16200000">
              <a:off x="6165516" y="1383851"/>
              <a:ext cx="323736" cy="1083334"/>
            </a:xfrm>
            <a:prstGeom prst="can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" rtlCol="0" anchor="ctr" anchorCtr="1"/>
            <a:lstStyle/>
            <a:p>
              <a:pPr algn="ctr"/>
              <a:r>
                <a:rPr lang="en-US" sz="1400" dirty="0"/>
                <a:t>Topic 2</a:t>
              </a:r>
            </a:p>
          </p:txBody>
        </p:sp>
        <p:sp>
          <p:nvSpPr>
            <p:cNvPr id="13" name="Can 12">
              <a:extLst>
                <a:ext uri="{FF2B5EF4-FFF2-40B4-BE49-F238E27FC236}">
                  <a16:creationId xmlns:a16="http://schemas.microsoft.com/office/drawing/2014/main" id="{BD963AA1-36F0-7342-AFAD-E3A731D89F51}"/>
                </a:ext>
              </a:extLst>
            </p:cNvPr>
            <p:cNvSpPr/>
            <p:nvPr/>
          </p:nvSpPr>
          <p:spPr>
            <a:xfrm rot="16200000">
              <a:off x="6165516" y="1951486"/>
              <a:ext cx="323736" cy="1083334"/>
            </a:xfrm>
            <a:prstGeom prst="can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" rtlCol="0" anchor="ctr" anchorCtr="1"/>
            <a:lstStyle/>
            <a:p>
              <a:pPr algn="ctr"/>
              <a:r>
                <a:rPr lang="en-US" sz="1400" dirty="0"/>
                <a:t>Topic 3</a:t>
              </a:r>
            </a:p>
          </p:txBody>
        </p:sp>
        <p:sp>
          <p:nvSpPr>
            <p:cNvPr id="14" name="Can 13">
              <a:extLst>
                <a:ext uri="{FF2B5EF4-FFF2-40B4-BE49-F238E27FC236}">
                  <a16:creationId xmlns:a16="http://schemas.microsoft.com/office/drawing/2014/main" id="{A15C69D3-6116-7440-8493-403296EA998C}"/>
                </a:ext>
              </a:extLst>
            </p:cNvPr>
            <p:cNvSpPr/>
            <p:nvPr/>
          </p:nvSpPr>
          <p:spPr>
            <a:xfrm rot="16200000">
              <a:off x="6165516" y="3046063"/>
              <a:ext cx="323736" cy="1083334"/>
            </a:xfrm>
            <a:prstGeom prst="can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" rtlCol="0" anchor="ctr" anchorCtr="1"/>
            <a:lstStyle/>
            <a:p>
              <a:pPr algn="ctr"/>
              <a:r>
                <a:rPr lang="en-US" sz="1400" dirty="0"/>
                <a:t>Topic 5</a:t>
              </a:r>
            </a:p>
          </p:txBody>
        </p:sp>
        <p:sp>
          <p:nvSpPr>
            <p:cNvPr id="15" name="Can 14">
              <a:extLst>
                <a:ext uri="{FF2B5EF4-FFF2-40B4-BE49-F238E27FC236}">
                  <a16:creationId xmlns:a16="http://schemas.microsoft.com/office/drawing/2014/main" id="{839783C6-E77F-6F45-9C66-710B23C90BE4}"/>
                </a:ext>
              </a:extLst>
            </p:cNvPr>
            <p:cNvSpPr/>
            <p:nvPr/>
          </p:nvSpPr>
          <p:spPr>
            <a:xfrm rot="16200000">
              <a:off x="6165516" y="3579996"/>
              <a:ext cx="323736" cy="1083334"/>
            </a:xfrm>
            <a:prstGeom prst="can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vert" rtlCol="0" anchor="ctr" anchorCtr="1"/>
            <a:lstStyle/>
            <a:p>
              <a:pPr algn="ctr"/>
              <a:r>
                <a:rPr lang="en-US" sz="1400" dirty="0"/>
                <a:t>Topic N</a:t>
              </a: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D21E468-4BE4-F14D-A8A6-474E04CB08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785717" y="515101"/>
              <a:ext cx="1018778" cy="535512"/>
            </a:xfrm>
            <a:prstGeom prst="rect">
              <a:avLst/>
            </a:prstGeom>
          </p:spPr>
        </p:pic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1811074B-CD28-074D-A615-249994041226}"/>
                </a:ext>
              </a:extLst>
            </p:cNvPr>
            <p:cNvCxnSpPr/>
            <p:nvPr/>
          </p:nvCxnSpPr>
          <p:spPr>
            <a:xfrm>
              <a:off x="6881563" y="3046200"/>
              <a:ext cx="1038250" cy="364595"/>
            </a:xfrm>
            <a:prstGeom prst="straightConnector1">
              <a:avLst/>
            </a:prstGeom>
            <a:ln>
              <a:solidFill>
                <a:schemeClr val="tx1"/>
              </a:solidFill>
              <a:prstDash val="solid"/>
              <a:tailEnd type="arrow"/>
            </a:ln>
            <a:effectLst>
              <a:outerShdw blurRad="40005" dist="19939" dir="5400000" algn="tl" rotWithShape="0">
                <a:srgbClr val="000000">
                  <a:alpha val="3800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BDDE042-5CCB-3149-9450-8ED90218A934}"/>
                </a:ext>
              </a:extLst>
            </p:cNvPr>
            <p:cNvSpPr/>
            <p:nvPr/>
          </p:nvSpPr>
          <p:spPr>
            <a:xfrm>
              <a:off x="4096015" y="1072277"/>
              <a:ext cx="577902" cy="582007"/>
            </a:xfrm>
            <a:prstGeom prst="rect">
              <a:avLst/>
            </a:prstGeom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846A195-5C66-054F-A097-0DC0E3FDFD46}"/>
                </a:ext>
              </a:extLst>
            </p:cNvPr>
            <p:cNvSpPr/>
            <p:nvPr/>
          </p:nvSpPr>
          <p:spPr>
            <a:xfrm>
              <a:off x="4096014" y="2214059"/>
              <a:ext cx="577902" cy="610987"/>
            </a:xfrm>
            <a:prstGeom prst="rect">
              <a:avLst/>
            </a:prstGeom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672DDFC-5E4E-1C45-8CFC-170523E35E0F}"/>
                </a:ext>
              </a:extLst>
            </p:cNvPr>
            <p:cNvSpPr/>
            <p:nvPr/>
          </p:nvSpPr>
          <p:spPr>
            <a:xfrm>
              <a:off x="7875335" y="935852"/>
              <a:ext cx="608195" cy="596615"/>
            </a:xfrm>
            <a:prstGeom prst="rect">
              <a:avLst/>
            </a:prstGeom>
            <a:ln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CEFC8C27-A23D-AF43-9BE5-402183229358}"/>
                </a:ext>
              </a:extLst>
            </p:cNvPr>
            <p:cNvCxnSpPr>
              <a:stCxn id="6" idx="3"/>
              <a:endCxn id="20" idx="1"/>
            </p:cNvCxnSpPr>
            <p:nvPr/>
          </p:nvCxnSpPr>
          <p:spPr>
            <a:xfrm flipV="1">
              <a:off x="6869054" y="1234158"/>
              <a:ext cx="1006281" cy="129123"/>
            </a:xfrm>
            <a:prstGeom prst="straightConnector1">
              <a:avLst/>
            </a:prstGeom>
            <a:ln>
              <a:solidFill>
                <a:schemeClr val="tx1"/>
              </a:solidFill>
              <a:prstDash val="solid"/>
              <a:tailEnd type="arrow"/>
            </a:ln>
            <a:effectLst>
              <a:outerShdw blurRad="40005" dist="19939" dir="5400000" algn="tl" rotWithShape="0">
                <a:srgbClr val="000000">
                  <a:alpha val="3800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CA8F152-91BB-934A-9941-F9E27F167DB1}"/>
                </a:ext>
              </a:extLst>
            </p:cNvPr>
            <p:cNvSpPr/>
            <p:nvPr/>
          </p:nvSpPr>
          <p:spPr>
            <a:xfrm>
              <a:off x="7919816" y="2044869"/>
              <a:ext cx="620707" cy="571701"/>
            </a:xfrm>
            <a:prstGeom prst="rect">
              <a:avLst/>
            </a:prstGeom>
            <a:ln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4F0C6B32-AF9D-3141-8A49-71511A971338}"/>
                </a:ext>
              </a:extLst>
            </p:cNvPr>
            <p:cNvCxnSpPr/>
            <p:nvPr/>
          </p:nvCxnSpPr>
          <p:spPr>
            <a:xfrm>
              <a:off x="6869051" y="1903842"/>
              <a:ext cx="1050762" cy="287495"/>
            </a:xfrm>
            <a:prstGeom prst="straightConnector1">
              <a:avLst/>
            </a:prstGeom>
            <a:ln>
              <a:solidFill>
                <a:schemeClr val="tx1"/>
              </a:solidFill>
              <a:prstDash val="solid"/>
              <a:tailEnd type="arrow"/>
            </a:ln>
            <a:effectLst>
              <a:outerShdw blurRad="40005" dist="19939" dir="5400000" algn="tl" rotWithShape="0">
                <a:srgbClr val="000000">
                  <a:alpha val="3800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D32EB65E-0CFD-0644-90D1-10D789813B85}"/>
                </a:ext>
              </a:extLst>
            </p:cNvPr>
            <p:cNvCxnSpPr/>
            <p:nvPr/>
          </p:nvCxnSpPr>
          <p:spPr>
            <a:xfrm>
              <a:off x="6869051" y="2475543"/>
              <a:ext cx="1050762" cy="0"/>
            </a:xfrm>
            <a:prstGeom prst="straightConnector1">
              <a:avLst/>
            </a:prstGeom>
            <a:ln>
              <a:solidFill>
                <a:schemeClr val="tx1"/>
              </a:solidFill>
              <a:prstDash val="solid"/>
              <a:tailEnd type="arrow"/>
            </a:ln>
            <a:effectLst>
              <a:outerShdw blurRad="40005" dist="19939" dir="5400000" algn="tl" rotWithShape="0">
                <a:srgbClr val="000000">
                  <a:alpha val="3800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F48E751C-4250-7A42-A32E-410D04D1FA36}"/>
                </a:ext>
              </a:extLst>
            </p:cNvPr>
            <p:cNvGrpSpPr/>
            <p:nvPr/>
          </p:nvGrpSpPr>
          <p:grpSpPr>
            <a:xfrm>
              <a:off x="5088550" y="3587733"/>
              <a:ext cx="3147877" cy="1330935"/>
              <a:chOff x="4394231" y="4462491"/>
              <a:chExt cx="3147877" cy="1330935"/>
            </a:xfrm>
          </p:grpSpPr>
          <p:cxnSp>
            <p:nvCxnSpPr>
              <p:cNvPr id="39" name="Elbow Connector 38">
                <a:extLst>
                  <a:ext uri="{FF2B5EF4-FFF2-40B4-BE49-F238E27FC236}">
                    <a16:creationId xmlns:a16="http://schemas.microsoft.com/office/drawing/2014/main" id="{CB259E68-1B73-5A4A-A7E3-F1E54914DF7C}"/>
                  </a:ext>
                </a:extLst>
              </p:cNvPr>
              <p:cNvCxnSpPr/>
              <p:nvPr/>
            </p:nvCxnSpPr>
            <p:spPr>
              <a:xfrm rot="5400000">
                <a:off x="5356274" y="3607591"/>
                <a:ext cx="1223791" cy="3147877"/>
              </a:xfrm>
              <a:prstGeom prst="bentConnector2">
                <a:avLst/>
              </a:prstGeom>
              <a:ln>
                <a:solidFill>
                  <a:schemeClr val="tx1"/>
                </a:solidFill>
                <a:tailEnd type="non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Elbow Connector 39">
                <a:extLst>
                  <a:ext uri="{FF2B5EF4-FFF2-40B4-BE49-F238E27FC236}">
                    <a16:creationId xmlns:a16="http://schemas.microsoft.com/office/drawing/2014/main" id="{62B5A9AB-A574-AD46-B85F-814B170E2008}"/>
                  </a:ext>
                </a:extLst>
              </p:cNvPr>
              <p:cNvCxnSpPr>
                <a:endCxn id="14" idx="1"/>
              </p:cNvCxnSpPr>
              <p:nvPr/>
            </p:nvCxnSpPr>
            <p:spPr>
              <a:xfrm rot="5400000" flipH="1" flipV="1">
                <a:off x="4085510" y="4787535"/>
                <a:ext cx="1330935" cy="680847"/>
              </a:xfrm>
              <a:prstGeom prst="bentConnector2">
                <a:avLst/>
              </a:prstGeom>
              <a:ln>
                <a:solidFill>
                  <a:srgbClr val="000000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962C3AF8-6FA2-464C-BAF5-20F7FD48B60D}"/>
                </a:ext>
              </a:extLst>
            </p:cNvPr>
            <p:cNvCxnSpPr>
              <a:stCxn id="14" idx="3"/>
              <a:endCxn id="29" idx="0"/>
            </p:cNvCxnSpPr>
            <p:nvPr/>
          </p:nvCxnSpPr>
          <p:spPr>
            <a:xfrm>
              <a:off x="6869054" y="3587731"/>
              <a:ext cx="745067" cy="472012"/>
            </a:xfrm>
            <a:prstGeom prst="straightConnector1">
              <a:avLst/>
            </a:prstGeom>
            <a:ln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1E63603-73CF-9C4D-9263-1E128E4EAAF9}"/>
                </a:ext>
              </a:extLst>
            </p:cNvPr>
            <p:cNvSpPr/>
            <p:nvPr/>
          </p:nvSpPr>
          <p:spPr>
            <a:xfrm>
              <a:off x="4096014" y="3166371"/>
              <a:ext cx="577902" cy="593933"/>
            </a:xfrm>
            <a:prstGeom prst="rect">
              <a:avLst/>
            </a:prstGeom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18718A1E-DFEC-5245-90A5-DC3FE548E24D}"/>
                </a:ext>
              </a:extLst>
            </p:cNvPr>
            <p:cNvCxnSpPr>
              <a:stCxn id="27" idx="3"/>
              <a:endCxn id="11" idx="1"/>
            </p:cNvCxnSpPr>
            <p:nvPr/>
          </p:nvCxnSpPr>
          <p:spPr>
            <a:xfrm flipV="1">
              <a:off x="4673919" y="3046201"/>
              <a:ext cx="1111801" cy="417137"/>
            </a:xfrm>
            <a:prstGeom prst="straightConnector1">
              <a:avLst/>
            </a:prstGeom>
            <a:ln>
              <a:solidFill>
                <a:schemeClr val="tx1"/>
              </a:solidFill>
              <a:prstDash val="solid"/>
              <a:tailEnd type="arrow"/>
            </a:ln>
            <a:effectLst>
              <a:outerShdw blurRad="40005" dist="19939" dir="5400000" algn="tl" rotWithShape="0">
                <a:srgbClr val="000000">
                  <a:alpha val="3800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3DF3AB5-3BFB-BA40-AF3A-AF7472E737A4}"/>
                </a:ext>
              </a:extLst>
            </p:cNvPr>
            <p:cNvSpPr/>
            <p:nvPr/>
          </p:nvSpPr>
          <p:spPr>
            <a:xfrm>
              <a:off x="7297511" y="4059743"/>
              <a:ext cx="633219" cy="593933"/>
            </a:xfrm>
            <a:prstGeom prst="rect">
              <a:avLst/>
            </a:prstGeom>
            <a:ln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8B5BD85-A298-004B-9128-2FE0FE77CF40}"/>
                </a:ext>
              </a:extLst>
            </p:cNvPr>
            <p:cNvSpPr/>
            <p:nvPr/>
          </p:nvSpPr>
          <p:spPr>
            <a:xfrm>
              <a:off x="6898066" y="5221293"/>
              <a:ext cx="418398" cy="371951"/>
            </a:xfrm>
            <a:prstGeom prst="rect">
              <a:avLst/>
            </a:prstGeom>
            <a:ln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9F80386-A8CB-D049-929A-03FC62B8CB65}"/>
                </a:ext>
              </a:extLst>
            </p:cNvPr>
            <p:cNvSpPr/>
            <p:nvPr/>
          </p:nvSpPr>
          <p:spPr>
            <a:xfrm>
              <a:off x="5152149" y="5230320"/>
              <a:ext cx="403251" cy="371951"/>
            </a:xfrm>
            <a:prstGeom prst="rect">
              <a:avLst/>
            </a:prstGeom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4235C71-ED21-B744-8F60-580F8D35799F}"/>
                </a:ext>
              </a:extLst>
            </p:cNvPr>
            <p:cNvSpPr txBox="1"/>
            <p:nvPr/>
          </p:nvSpPr>
          <p:spPr>
            <a:xfrm>
              <a:off x="5555398" y="5173165"/>
              <a:ext cx="1175202" cy="4388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Producer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3BC7440-86C5-5346-AF59-CB216BEACDB6}"/>
                </a:ext>
              </a:extLst>
            </p:cNvPr>
            <p:cNvSpPr txBox="1"/>
            <p:nvPr/>
          </p:nvSpPr>
          <p:spPr>
            <a:xfrm>
              <a:off x="7316465" y="5172605"/>
              <a:ext cx="1497243" cy="4388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Consumer</a:t>
              </a: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7FF79321-BA05-B14C-A7FA-A120EE0DEF44}"/>
                </a:ext>
              </a:extLst>
            </p:cNvPr>
            <p:cNvGrpSpPr/>
            <p:nvPr/>
          </p:nvGrpSpPr>
          <p:grpSpPr>
            <a:xfrm>
              <a:off x="7919816" y="3096774"/>
              <a:ext cx="577903" cy="610987"/>
              <a:chOff x="2026913" y="3113294"/>
              <a:chExt cx="577903" cy="610986"/>
            </a:xfrm>
          </p:grpSpPr>
          <p:sp>
            <p:nvSpPr>
              <p:cNvPr id="37" name="Right Triangle 36">
                <a:extLst>
                  <a:ext uri="{FF2B5EF4-FFF2-40B4-BE49-F238E27FC236}">
                    <a16:creationId xmlns:a16="http://schemas.microsoft.com/office/drawing/2014/main" id="{3F52C268-D287-1D43-BCC0-58A94E2486E1}"/>
                  </a:ext>
                </a:extLst>
              </p:cNvPr>
              <p:cNvSpPr/>
              <p:nvPr/>
            </p:nvSpPr>
            <p:spPr>
              <a:xfrm>
                <a:off x="2026913" y="3113294"/>
                <a:ext cx="577903" cy="610986"/>
              </a:xfrm>
              <a:prstGeom prst="rtTriangle">
                <a:avLst/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8" name="Right Triangle 37">
                <a:extLst>
                  <a:ext uri="{FF2B5EF4-FFF2-40B4-BE49-F238E27FC236}">
                    <a16:creationId xmlns:a16="http://schemas.microsoft.com/office/drawing/2014/main" id="{3822C661-F9D4-C040-802F-178E5B346577}"/>
                  </a:ext>
                </a:extLst>
              </p:cNvPr>
              <p:cNvSpPr/>
              <p:nvPr/>
            </p:nvSpPr>
            <p:spPr>
              <a:xfrm rot="10800000">
                <a:off x="2026913" y="3113294"/>
                <a:ext cx="577903" cy="610986"/>
              </a:xfrm>
              <a:prstGeom prst="rtTriangle">
                <a:avLst/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A996D9D-3027-734F-8A2E-74A24BC6231C}"/>
                </a:ext>
              </a:extLst>
            </p:cNvPr>
            <p:cNvSpPr/>
            <p:nvPr/>
          </p:nvSpPr>
          <p:spPr>
            <a:xfrm>
              <a:off x="7875335" y="112378"/>
              <a:ext cx="608195" cy="596615"/>
            </a:xfrm>
            <a:prstGeom prst="rect">
              <a:avLst/>
            </a:prstGeom>
            <a:ln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1134C1C5-D6FC-0D4B-BEBC-24D142FF038A}"/>
                </a:ext>
              </a:extLst>
            </p:cNvPr>
            <p:cNvCxnSpPr/>
            <p:nvPr/>
          </p:nvCxnSpPr>
          <p:spPr>
            <a:xfrm flipV="1">
              <a:off x="6881566" y="379877"/>
              <a:ext cx="993769" cy="983403"/>
            </a:xfrm>
            <a:prstGeom prst="straightConnector1">
              <a:avLst/>
            </a:prstGeom>
            <a:ln>
              <a:solidFill>
                <a:schemeClr val="tx1"/>
              </a:solidFill>
              <a:prstDash val="solid"/>
              <a:tailEnd type="arrow"/>
            </a:ln>
            <a:effectLst>
              <a:outerShdw blurRad="40005" dist="19939" dir="5400000" algn="tl" rotWithShape="0">
                <a:srgbClr val="000000">
                  <a:alpha val="3800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itle 40">
            <a:extLst>
              <a:ext uri="{FF2B5EF4-FFF2-40B4-BE49-F238E27FC236}">
                <a16:creationId xmlns:a16="http://schemas.microsoft.com/office/drawing/2014/main" id="{FF8034C0-DCCE-C840-B5ED-4DDB7A7EEE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Apache</a:t>
            </a:r>
            <a:r>
              <a:rPr lang="en-US" dirty="0"/>
              <a:t> </a:t>
            </a:r>
            <a:r>
              <a:rPr lang="en-US" sz="3600" b="1" dirty="0"/>
              <a:t>Kafk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D6413EE-5773-6C44-A7AB-45F4AB0587E1}"/>
              </a:ext>
            </a:extLst>
          </p:cNvPr>
          <p:cNvSpPr txBox="1"/>
          <p:nvPr/>
        </p:nvSpPr>
        <p:spPr>
          <a:xfrm>
            <a:off x="991835" y="1077758"/>
            <a:ext cx="3132022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/>
              <a:buChar char="•"/>
            </a:pPr>
            <a:r>
              <a:rPr lang="en-US" sz="1600" dirty="0"/>
              <a:t>Extremely fast, highly scalable, durable, distributed publish-subscribe messaging platform</a:t>
            </a:r>
          </a:p>
          <a:p>
            <a:pPr marL="285750" indent="-285750">
              <a:spcAft>
                <a:spcPts val="1200"/>
              </a:spcAft>
              <a:buFont typeface="Arial"/>
              <a:buChar char="•"/>
            </a:pPr>
            <a:r>
              <a:rPr lang="en-US" sz="1600" dirty="0"/>
              <a:t>Developed at LinkedIn - open sourced 2011</a:t>
            </a:r>
          </a:p>
          <a:p>
            <a:pPr marL="285750" indent="-285750">
              <a:spcAft>
                <a:spcPts val="1200"/>
              </a:spcAft>
              <a:buFont typeface="Arial"/>
              <a:buChar char="•"/>
            </a:pPr>
            <a:r>
              <a:rPr lang="en-US" sz="1600" dirty="0"/>
              <a:t>Confluent founded in 2014 as a commercial entity supporting Kafka</a:t>
            </a:r>
          </a:p>
          <a:p>
            <a:pPr marL="285750" indent="-285750">
              <a:spcAft>
                <a:spcPts val="1200"/>
              </a:spcAft>
              <a:buFont typeface="Arial"/>
              <a:buChar char="•"/>
            </a:pPr>
            <a:r>
              <a:rPr lang="en-US" sz="1600" dirty="0">
                <a:hlinkClick r:id="rId4"/>
              </a:rPr>
              <a:t>Apache Kafka</a:t>
            </a:r>
            <a:endParaRPr lang="en-US" sz="1600" dirty="0"/>
          </a:p>
          <a:p>
            <a:pPr marL="285750" indent="-285750">
              <a:spcAft>
                <a:spcPts val="1200"/>
              </a:spcAft>
              <a:buFont typeface="Arial"/>
              <a:buChar char="•"/>
            </a:pPr>
            <a:r>
              <a:rPr lang="en-US" sz="1600" dirty="0">
                <a:hlinkClick r:id="rId5"/>
              </a:rPr>
              <a:t>Confluent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627674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17906-A39B-4349-B2A4-5AD4AD121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Let’s Clean Up This Mess!</a:t>
            </a:r>
          </a:p>
        </p:txBody>
      </p:sp>
      <p:pic>
        <p:nvPicPr>
          <p:cNvPr id="3" name="Shape 427" descr="jay-before.png">
            <a:extLst>
              <a:ext uri="{FF2B5EF4-FFF2-40B4-BE49-F238E27FC236}">
                <a16:creationId xmlns:a16="http://schemas.microsoft.com/office/drawing/2014/main" id="{080BDD6D-CDCF-814B-9BB4-1BC5EAFF3693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10700" y="1508168"/>
            <a:ext cx="5027574" cy="2628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Shape 428" descr="jay-after.png">
            <a:extLst>
              <a:ext uri="{FF2B5EF4-FFF2-40B4-BE49-F238E27FC236}">
                <a16:creationId xmlns:a16="http://schemas.microsoft.com/office/drawing/2014/main" id="{9A3D9E1E-D544-CB43-A3B4-4D678632BC46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833462" y="1508168"/>
            <a:ext cx="3171400" cy="252792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Shape 429">
            <a:extLst>
              <a:ext uri="{FF2B5EF4-FFF2-40B4-BE49-F238E27FC236}">
                <a16:creationId xmlns:a16="http://schemas.microsoft.com/office/drawing/2014/main" id="{6B3F14DB-ED0F-5643-BE9A-5D2B31F731C7}"/>
              </a:ext>
            </a:extLst>
          </p:cNvPr>
          <p:cNvSpPr/>
          <p:nvPr/>
        </p:nvSpPr>
        <p:spPr>
          <a:xfrm>
            <a:off x="5437150" y="2669625"/>
            <a:ext cx="649500" cy="49830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38761D"/>
          </a:solidFill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7922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17906-A39B-4349-B2A4-5AD4AD121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General Onboarding Ques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D7227E-8D80-BA4C-B029-F92F29D9312B}"/>
              </a:ext>
            </a:extLst>
          </p:cNvPr>
          <p:cNvSpPr txBox="1"/>
          <p:nvPr/>
        </p:nvSpPr>
        <p:spPr>
          <a:xfrm>
            <a:off x="943175" y="1063229"/>
            <a:ext cx="7257650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/>
              <a:t>Define the use case – Is it a good fit for Kafka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hlinkClick r:id="rId3"/>
              </a:rPr>
              <a:t>When to use Kafka</a:t>
            </a:r>
            <a:endParaRPr lang="en-US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hlinkClick r:id="rId4"/>
              </a:rPr>
              <a:t>Use Cases</a:t>
            </a:r>
            <a:endParaRPr lang="en-US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/>
              <a:t>Analyze and define data types, volumes and load profile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Message Structure, Data Types, Volume and frequency of messag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/>
              <a:t>Determine data security classification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If unsure contact the </a:t>
            </a:r>
            <a:r>
              <a:rPr lang="en-US" sz="1400" dirty="0">
                <a:hlinkClick r:id="rId5"/>
              </a:rPr>
              <a:t>Cyber Security Risk Management Team</a:t>
            </a:r>
            <a:endParaRPr lang="en-US" sz="14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600" dirty="0"/>
              <a:t>Define cluster replication requirement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1400" dirty="0"/>
              <a:t>Is replication needed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/>
              <a:t>How will data be produced into and consumed from EDH?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/>
              <a:t>Location of clients – can the datahub account be reached?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/>
              <a:t>Type of clients – custom or out of the box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hlinkClick r:id="rId6"/>
              </a:rPr>
              <a:t>Docs Site - Onboarding Data Sources</a:t>
            </a:r>
            <a:endParaRPr lang="en-US" sz="1400" dirty="0"/>
          </a:p>
          <a:p>
            <a:pPr lvl="1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010948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17906-A39B-4349-B2A4-5AD4AD121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Connecting to the ED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D7227E-8D80-BA4C-B029-F92F29D9312B}"/>
              </a:ext>
            </a:extLst>
          </p:cNvPr>
          <p:cNvSpPr txBox="1"/>
          <p:nvPr/>
        </p:nvSpPr>
        <p:spPr>
          <a:xfrm>
            <a:off x="943175" y="1109811"/>
            <a:ext cx="7257650" cy="2369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etting connected to the Datahub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Where is your code running? AWS US, AWS EU, GCP, On-Pre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Which cluster will the consumers/producers need to connect to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3"/>
              </a:rPr>
              <a:t>Testing your connectivity to EDH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llow the instructions on the Docs site for your scenario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4"/>
              </a:rPr>
              <a:t>Cloud - EDH Cloud Connect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If you need to connect from On-Prem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</a:rPr>
              <a:t>If there is no connectivity you will need to contact th</a:t>
            </a:r>
            <a:r>
              <a:rPr lang="en-US" sz="1600" dirty="0"/>
              <a:t>e network team for that datacenter to get firewall rules added.</a:t>
            </a:r>
            <a:endParaRPr lang="en-US" sz="16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235121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25.09.2018 11:11:43"/>
  <p:tag name="MIO_OBJECTNAME" val="Master Bayer AG 16:9 pre final"/>
  <p:tag name="MIO_CDID" val="cd9a71c7-8ed9-41a1-8303-1a6d1985851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25.09.2018 11:11:43"/>
  <p:tag name="MIO_OBJECTNAME" val="Master Bayer AG 16:9 pre final"/>
  <p:tag name="MIO_CDID" val="cd9a71c7-8ed9-41a1-8303-1a6d1985851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25.09.2018 11:11:43"/>
  <p:tag name="MIO_OBJECTNAME" val="Master Bayer AG 16:9 pre final"/>
  <p:tag name="MIO_CDID" val="cd9a71c7-8ed9-41a1-8303-1a6d1985851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25.09.2018 11:11:43"/>
  <p:tag name="MIO_OBJECTNAME" val="Master Bayer AG 16:9 pre final"/>
  <p:tag name="MIO_CDID" val="cd9a71c7-8ed9-41a1-8303-1a6d1985851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2_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äsentation2" id="{9F44F183-6967-4C37-BC3A-F846C6343AA8}" vid="{2CD6D4D1-CF9C-4B16-993C-2A26F7415D1B}"/>
    </a:ext>
  </a:extLst>
</a:theme>
</file>

<file path=ppt/theme/theme2.xml><?xml version="1.0" encoding="utf-8"?>
<a:theme xmlns:a="http://schemas.openxmlformats.org/drawingml/2006/main" name="1_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äsentation2" id="{9F44F183-6967-4C37-BC3A-F846C6343AA8}" vid="{2CD6D4D1-CF9C-4B16-993C-2A26F7415D1B}"/>
    </a:ext>
  </a:extLst>
</a:theme>
</file>

<file path=ppt/theme/theme3.xml><?xml version="1.0" encoding="utf-8"?>
<a:theme xmlns:a="http://schemas.openxmlformats.org/drawingml/2006/main" name="3_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esentation1" id="{3B8AE8CF-6EAE-C743-9379-647FAE276745}" vid="{3596F4A2-C5EB-F342-8FE1-2447BB92F044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esentation1" id="{3B8AE8CF-6EAE-C743-9379-647FAE276745}" vid="{3596F4A2-C5EB-F342-8FE1-2447BB92F04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Bayer 2017">
    <a:dk1>
      <a:srgbClr val="000000"/>
    </a:dk1>
    <a:lt1>
      <a:srgbClr val="FFFFFF"/>
    </a:lt1>
    <a:dk2>
      <a:srgbClr val="FF3162"/>
    </a:dk2>
    <a:lt2>
      <a:srgbClr val="624963"/>
    </a:lt2>
    <a:accent1>
      <a:srgbClr val="10384F"/>
    </a:accent1>
    <a:accent2>
      <a:srgbClr val="00BCFF"/>
    </a:accent2>
    <a:accent3>
      <a:srgbClr val="004422"/>
    </a:accent3>
    <a:accent4>
      <a:srgbClr val="89D329"/>
    </a:accent4>
    <a:accent5>
      <a:srgbClr val="443247"/>
    </a:accent5>
    <a:accent6>
      <a:srgbClr val="D30F4B"/>
    </a:accent6>
    <a:hlink>
      <a:srgbClr val="00BCFF"/>
    </a:hlink>
    <a:folHlink>
      <a:srgbClr val="89D329"/>
    </a:folHlink>
  </a:clrScheme>
</a:themeOverride>
</file>

<file path=ppt/theme/themeOverride2.xml><?xml version="1.0" encoding="utf-8"?>
<a:themeOverride xmlns:a="http://schemas.openxmlformats.org/drawingml/2006/main">
  <a:clrScheme name="Bayer 2017">
    <a:dk1>
      <a:srgbClr val="000000"/>
    </a:dk1>
    <a:lt1>
      <a:srgbClr val="FFFFFF"/>
    </a:lt1>
    <a:dk2>
      <a:srgbClr val="FF3162"/>
    </a:dk2>
    <a:lt2>
      <a:srgbClr val="624963"/>
    </a:lt2>
    <a:accent1>
      <a:srgbClr val="10384F"/>
    </a:accent1>
    <a:accent2>
      <a:srgbClr val="00BCFF"/>
    </a:accent2>
    <a:accent3>
      <a:srgbClr val="004422"/>
    </a:accent3>
    <a:accent4>
      <a:srgbClr val="89D329"/>
    </a:accent4>
    <a:accent5>
      <a:srgbClr val="443247"/>
    </a:accent5>
    <a:accent6>
      <a:srgbClr val="D30F4B"/>
    </a:accent6>
    <a:hlink>
      <a:srgbClr val="00BCFF"/>
    </a:hlink>
    <a:folHlink>
      <a:srgbClr val="89D329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 xsi:nil="true"/>
    <_dlc_ExpireDateSaved xmlns="http://schemas.microsoft.com/sharepoint/v3" xsi:nil="true"/>
    <_dlc_ExpireDate xmlns="http://schemas.microsoft.com/sharepoint/v3" xsi:nil="true"/>
    <_dlc_Exempt xmlns="http://schemas.microsoft.com/sharepoint/v3" xsi:nil="true"/>
    <lcf76f155ced4ddcb4097134ff3c332f xmlns="a3329aca-8b15-41e8-aeb1-8b65fd361019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haredContentType xmlns="Microsoft.SharePoint.Taxonomy.ContentTypeSync" SourceId="7bc43322-b630-4bac-8b27-31def233d1d0" ContentTypeId="0x0101" PreviousValue="false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06CF4BD98CB94BB1938C3B7F64AF26" ma:contentTypeVersion="18" ma:contentTypeDescription="Create a new document." ma:contentTypeScope="" ma:versionID="2c8d6e2f294084fd1944e3ad9e3d4f62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a3329aca-8b15-41e8-aeb1-8b65fd361019" xmlns:ns4="aee2185d-8eae-4afa-9aff-78d4a109b8e6" targetNamespace="http://schemas.microsoft.com/office/2006/metadata/properties" ma:root="true" ma:fieldsID="85a914878767792c8a82617b9eb0c26e" ns1:_="" ns2:_="" ns3:_="" ns4:_="">
    <xsd:import namespace="http://schemas.microsoft.com/sharepoint/v3"/>
    <xsd:import namespace="1a4d292e-883c-434b-96e3-060cfff16c86"/>
    <xsd:import namespace="a3329aca-8b15-41e8-aeb1-8b65fd361019"/>
    <xsd:import namespace="aee2185d-8eae-4afa-9aff-78d4a109b8e6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Exempt from Policy" ma:hidden="true" ma:internalName="_dlc_Exempt" ma:readOnly="false">
      <xsd:simpleType>
        <xsd:restriction base="dms:Unknown"/>
      </xsd:simpleType>
    </xsd:element>
    <xsd:element name="_dlc_ExpireDateSaved" ma:index="11" nillable="true" ma:displayName="Original Expiration Date" ma:hidden="true" ma:internalName="_dlc_ExpireDateSaved" ma:readOnly="false">
      <xsd:simpleType>
        <xsd:restriction base="dms:DateTime"/>
      </xsd:simpleType>
    </xsd:element>
    <xsd:element name="_dlc_ExpireDate" ma:index="12" nillable="true" ma:displayName="Expiration Date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cbaa0ac4-fb57-41ba-ae82-ffcfc539742c}" ma:internalName="TaxCatchAll" ma:showField="CatchAllData" ma:web="aee2185d-8eae-4afa-9aff-78d4a109b8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cbaa0ac4-fb57-41ba-ae82-ffcfc539742c}" ma:internalName="TaxCatchAllLabel" ma:readOnly="true" ma:showField="CatchAllDataLabel" ma:web="aee2185d-8eae-4afa-9aff-78d4a109b8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329aca-8b15-41e8-aeb1-8b65fd3610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bc43322-b630-4bac-8b27-31def233d1d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e2185d-8eae-4afa-9aff-78d4a109b8e6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8C9B1BA-A689-419F-A2BC-19C9F0A53814}">
  <ds:schemaRefs>
    <ds:schemaRef ds:uri="http://schemas.microsoft.com/office/2006/metadata/properties"/>
    <ds:schemaRef ds:uri="http://schemas.microsoft.com/office/2006/documentManagement/types"/>
    <ds:schemaRef ds:uri="http://purl.org/dc/dcmitype/"/>
    <ds:schemaRef ds:uri="aee2185d-8eae-4afa-9aff-78d4a109b8e6"/>
    <ds:schemaRef ds:uri="http://schemas.microsoft.com/office/infopath/2007/PartnerControls"/>
    <ds:schemaRef ds:uri="1a4d292e-883c-434b-96e3-060cfff16c86"/>
    <ds:schemaRef ds:uri="http://purl.org/dc/elements/1.1/"/>
    <ds:schemaRef ds:uri="a3329aca-8b15-41e8-aeb1-8b65fd361019"/>
    <ds:schemaRef ds:uri="http://www.w3.org/XML/1998/namespace"/>
    <ds:schemaRef ds:uri="http://schemas.microsoft.com/sharepoint/v3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FAAF7B2F-250B-4847-A157-782506C795D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5701379-9705-47A5-AA22-3E0E1675FE72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825EAB67-1D14-4589-8DF0-05AA5AECCDEF}"/>
</file>

<file path=docProps/app.xml><?xml version="1.0" encoding="utf-8"?>
<Properties xmlns="http://schemas.openxmlformats.org/officeDocument/2006/extended-properties" xmlns:vt="http://schemas.openxmlformats.org/officeDocument/2006/docPropsVTypes">
  <TotalTime>68659</TotalTime>
  <Words>1117</Words>
  <Application>Microsoft Macintosh PowerPoint</Application>
  <PresentationFormat>On-screen Show (16:9)</PresentationFormat>
  <Paragraphs>200</Paragraphs>
  <Slides>20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5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Arial</vt:lpstr>
      <vt:lpstr>Calibri</vt:lpstr>
      <vt:lpstr>Calibri Light</vt:lpstr>
      <vt:lpstr>2_PR_BAG_PPT-master_16-9</vt:lpstr>
      <vt:lpstr>1_PR_BAG_PPT-master_16-9</vt:lpstr>
      <vt:lpstr>3_PR_BAG_PPT-master_16-9</vt:lpstr>
      <vt:lpstr>1_Office Theme</vt:lpstr>
      <vt:lpstr>4_PR_BAG_PPT-master_16-9</vt:lpstr>
      <vt:lpstr>Enterprise DataHub </vt:lpstr>
      <vt:lpstr> Overview </vt:lpstr>
      <vt:lpstr> What is the Enterprise Datahub? </vt:lpstr>
      <vt:lpstr>Cross-Datacenter Integration</vt:lpstr>
      <vt:lpstr>Stream Processing</vt:lpstr>
      <vt:lpstr>Apache Kafka</vt:lpstr>
      <vt:lpstr>Let’s Clean Up This Mess!</vt:lpstr>
      <vt:lpstr>General Onboarding Questions</vt:lpstr>
      <vt:lpstr>Connecting to the EDH</vt:lpstr>
      <vt:lpstr>DataHub Portal</vt:lpstr>
      <vt:lpstr>Topic Group</vt:lpstr>
      <vt:lpstr>Create DN</vt:lpstr>
      <vt:lpstr>Topics</vt:lpstr>
      <vt:lpstr>Schema</vt:lpstr>
      <vt:lpstr>ACLs</vt:lpstr>
      <vt:lpstr>Replication</vt:lpstr>
      <vt:lpstr>Generate Cert</vt:lpstr>
      <vt:lpstr>Clients</vt:lpstr>
      <vt:lpstr>Dashboards and Logs</vt:lpstr>
      <vt:lpstr>The End</vt:lpstr>
    </vt:vector>
  </TitlesOfParts>
  <Company>Monsant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NG, ROB L [AG/1000]</dc:creator>
  <cp:lastModifiedBy>Doug Troxel</cp:lastModifiedBy>
  <cp:revision>522</cp:revision>
  <cp:lastPrinted>2018-08-28T16:16:58Z</cp:lastPrinted>
  <dcterms:created xsi:type="dcterms:W3CDTF">2015-04-07T15:51:31Z</dcterms:created>
  <dcterms:modified xsi:type="dcterms:W3CDTF">2022-05-09T14:01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a1b63d6-0f89-418a-b21e-659f9264eb7c_Enabled">
    <vt:lpwstr>true</vt:lpwstr>
  </property>
  <property fmtid="{D5CDD505-2E9C-101B-9397-08002B2CF9AE}" pid="3" name="MSIP_Label_5a1b63d6-0f89-418a-b21e-659f9264eb7c_SetDate">
    <vt:lpwstr>2022-01-25T17:03:36Z</vt:lpwstr>
  </property>
  <property fmtid="{D5CDD505-2E9C-101B-9397-08002B2CF9AE}" pid="4" name="MSIP_Label_5a1b63d6-0f89-418a-b21e-659f9264eb7c_Method">
    <vt:lpwstr>Privileged</vt:lpwstr>
  </property>
  <property fmtid="{D5CDD505-2E9C-101B-9397-08002B2CF9AE}" pid="5" name="MSIP_Label_5a1b63d6-0f89-418a-b21e-659f9264eb7c_Name">
    <vt:lpwstr>5a1b63d6-0f89-418a-b21e-659f9264eb7c</vt:lpwstr>
  </property>
  <property fmtid="{D5CDD505-2E9C-101B-9397-08002B2CF9AE}" pid="6" name="MSIP_Label_5a1b63d6-0f89-418a-b21e-659f9264eb7c_SiteId">
    <vt:lpwstr>fcb2b37b-5da0-466b-9b83-0014b67a7c78</vt:lpwstr>
  </property>
  <property fmtid="{D5CDD505-2E9C-101B-9397-08002B2CF9AE}" pid="7" name="MSIP_Label_5a1b63d6-0f89-418a-b21e-659f9264eb7c_ActionId">
    <vt:lpwstr>bbfe0344-b488-4c9d-8983-7a86f9a01e30</vt:lpwstr>
  </property>
  <property fmtid="{D5CDD505-2E9C-101B-9397-08002B2CF9AE}" pid="8" name="MSIP_Label_5a1b63d6-0f89-418a-b21e-659f9264eb7c_ContentBits">
    <vt:lpwstr>2</vt:lpwstr>
  </property>
  <property fmtid="{D5CDD505-2E9C-101B-9397-08002B2CF9AE}" pid="9" name="ClassificationContentMarkingFooterLocations">
    <vt:lpwstr>Office Theme:8</vt:lpwstr>
  </property>
  <property fmtid="{D5CDD505-2E9C-101B-9397-08002B2CF9AE}" pid="10" name="ClassificationContentMarkingFooterText">
    <vt:lpwstr>INTERNAL</vt:lpwstr>
  </property>
  <property fmtid="{D5CDD505-2E9C-101B-9397-08002B2CF9AE}" pid="11" name="ContentTypeId">
    <vt:lpwstr>0x0101003C06CF4BD98CB94BB1938C3B7F64AF26</vt:lpwstr>
  </property>
</Properties>
</file>